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56" r:id="rId2"/>
    <p:sldId id="309" r:id="rId3"/>
    <p:sldId id="310" r:id="rId4"/>
    <p:sldId id="311" r:id="rId5"/>
    <p:sldId id="312" r:id="rId6"/>
    <p:sldId id="313" r:id="rId7"/>
    <p:sldId id="314" r:id="rId8"/>
    <p:sldId id="315" r:id="rId9"/>
    <p:sldId id="316" r:id="rId10"/>
  </p:sldIdLst>
  <p:sldSz cx="9144000" cy="6858000" type="screen4x3"/>
  <p:notesSz cx="7019925" cy="9305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DF4"/>
    <a:srgbClr val="D0D8E8"/>
    <a:srgbClr val="00297A"/>
    <a:srgbClr val="0000CC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88" autoAdjust="0"/>
    <p:restoredTop sz="77690" autoAdjust="0"/>
  </p:normalViewPr>
  <p:slideViewPr>
    <p:cSldViewPr>
      <p:cViewPr varScale="1">
        <p:scale>
          <a:sx n="74" d="100"/>
          <a:sy n="74" d="100"/>
        </p:scale>
        <p:origin x="1260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5BEA2D2-DB9A-4444-81F4-71F89CD4E48E}" type="doc">
      <dgm:prSet loTypeId="urn:microsoft.com/office/officeart/2005/8/layout/hChevron3" loCatId="process" qsTypeId="urn:microsoft.com/office/officeart/2005/8/quickstyle/simple1" qsCatId="simple" csTypeId="urn:microsoft.com/office/officeart/2005/8/colors/colorful2" csCatId="colorful" phldr="1"/>
      <dgm:spPr/>
    </dgm:pt>
    <dgm:pt modelId="{C62D2D9F-D5B3-413F-8994-67C280F426B9}">
      <dgm:prSet phldrT="[Text]"/>
      <dgm:spPr/>
      <dgm:t>
        <a:bodyPr/>
        <a:lstStyle/>
        <a:p>
          <a:r>
            <a:rPr lang="en-US" dirty="0" smtClean="0"/>
            <a:t>2011</a:t>
          </a:r>
          <a:endParaRPr lang="en-US" dirty="0"/>
        </a:p>
      </dgm:t>
    </dgm:pt>
    <dgm:pt modelId="{8F4F6E8D-B264-4C31-B986-506963F84ED9}" type="parTrans" cxnId="{C70ADFB7-5A82-4EB8-91B6-2194EE385163}">
      <dgm:prSet/>
      <dgm:spPr/>
      <dgm:t>
        <a:bodyPr/>
        <a:lstStyle/>
        <a:p>
          <a:endParaRPr lang="en-US"/>
        </a:p>
      </dgm:t>
    </dgm:pt>
    <dgm:pt modelId="{27990CBC-B45D-48EE-877F-8714E642CE3B}" type="sibTrans" cxnId="{C70ADFB7-5A82-4EB8-91B6-2194EE385163}">
      <dgm:prSet/>
      <dgm:spPr/>
      <dgm:t>
        <a:bodyPr/>
        <a:lstStyle/>
        <a:p>
          <a:endParaRPr lang="en-US"/>
        </a:p>
      </dgm:t>
    </dgm:pt>
    <dgm:pt modelId="{745F9F70-FB1B-4208-B4CB-B47BA4E56EAC}">
      <dgm:prSet phldrT="[Text]"/>
      <dgm:spPr/>
      <dgm:t>
        <a:bodyPr/>
        <a:lstStyle/>
        <a:p>
          <a:r>
            <a:rPr lang="en-US" dirty="0" smtClean="0"/>
            <a:t>2012</a:t>
          </a:r>
          <a:endParaRPr lang="en-US" dirty="0"/>
        </a:p>
      </dgm:t>
    </dgm:pt>
    <dgm:pt modelId="{C9BDEA4F-F617-47A9-97EB-53CA458F7CCC}" type="parTrans" cxnId="{1E002EE9-7AEA-4E1A-B06B-82D235860754}">
      <dgm:prSet/>
      <dgm:spPr/>
      <dgm:t>
        <a:bodyPr/>
        <a:lstStyle/>
        <a:p>
          <a:endParaRPr lang="en-US"/>
        </a:p>
      </dgm:t>
    </dgm:pt>
    <dgm:pt modelId="{E2D10985-745F-4F48-BFB6-0D8912A2E3B8}" type="sibTrans" cxnId="{1E002EE9-7AEA-4E1A-B06B-82D235860754}">
      <dgm:prSet/>
      <dgm:spPr/>
      <dgm:t>
        <a:bodyPr/>
        <a:lstStyle/>
        <a:p>
          <a:endParaRPr lang="en-US"/>
        </a:p>
      </dgm:t>
    </dgm:pt>
    <dgm:pt modelId="{577E9EEF-C82C-4812-88DA-8B9E4569D753}">
      <dgm:prSet phldrT="[Text]"/>
      <dgm:spPr/>
      <dgm:t>
        <a:bodyPr/>
        <a:lstStyle/>
        <a:p>
          <a:r>
            <a:rPr lang="en-US" dirty="0" smtClean="0"/>
            <a:t>2014</a:t>
          </a:r>
          <a:endParaRPr lang="en-US" dirty="0"/>
        </a:p>
      </dgm:t>
    </dgm:pt>
    <dgm:pt modelId="{D709DABF-2021-409C-A248-915631B8E103}" type="parTrans" cxnId="{A05275CB-F728-488E-A100-63007DA933E5}">
      <dgm:prSet/>
      <dgm:spPr/>
      <dgm:t>
        <a:bodyPr/>
        <a:lstStyle/>
        <a:p>
          <a:endParaRPr lang="en-US"/>
        </a:p>
      </dgm:t>
    </dgm:pt>
    <dgm:pt modelId="{5A655027-6936-405E-A349-CD72267C60EF}" type="sibTrans" cxnId="{A05275CB-F728-488E-A100-63007DA933E5}">
      <dgm:prSet/>
      <dgm:spPr/>
      <dgm:t>
        <a:bodyPr/>
        <a:lstStyle/>
        <a:p>
          <a:endParaRPr lang="en-US"/>
        </a:p>
      </dgm:t>
    </dgm:pt>
    <dgm:pt modelId="{84A39088-4C9A-4F9B-9807-40684801FC98}">
      <dgm:prSet phldrT="[Text]"/>
      <dgm:spPr/>
      <dgm:t>
        <a:bodyPr/>
        <a:lstStyle/>
        <a:p>
          <a:r>
            <a:rPr lang="en-US" dirty="0" smtClean="0"/>
            <a:t>2013</a:t>
          </a:r>
          <a:endParaRPr lang="en-US" dirty="0"/>
        </a:p>
      </dgm:t>
    </dgm:pt>
    <dgm:pt modelId="{21E0FDD7-7141-4CFC-B9F3-B39A04D1AB54}" type="parTrans" cxnId="{A251407C-B97A-49D6-A876-52CC7FF7FB80}">
      <dgm:prSet/>
      <dgm:spPr/>
      <dgm:t>
        <a:bodyPr/>
        <a:lstStyle/>
        <a:p>
          <a:endParaRPr lang="en-US"/>
        </a:p>
      </dgm:t>
    </dgm:pt>
    <dgm:pt modelId="{5C6A5DA6-2AEC-4C64-B697-919B769929EB}" type="sibTrans" cxnId="{A251407C-B97A-49D6-A876-52CC7FF7FB80}">
      <dgm:prSet/>
      <dgm:spPr/>
      <dgm:t>
        <a:bodyPr/>
        <a:lstStyle/>
        <a:p>
          <a:endParaRPr lang="en-US"/>
        </a:p>
      </dgm:t>
    </dgm:pt>
    <dgm:pt modelId="{3409D6D0-C9DA-F541-B2E8-EAA014FBB25E}">
      <dgm:prSet phldrT="[Text]"/>
      <dgm:spPr/>
      <dgm:t>
        <a:bodyPr/>
        <a:lstStyle/>
        <a:p>
          <a:r>
            <a:rPr lang="en-US" dirty="0" smtClean="0"/>
            <a:t>2015</a:t>
          </a:r>
          <a:endParaRPr lang="en-US" dirty="0"/>
        </a:p>
      </dgm:t>
    </dgm:pt>
    <dgm:pt modelId="{79A4D817-FD5B-F44A-B333-323207AD0FE5}" type="parTrans" cxnId="{EF8E07AC-0CD2-A044-A5CC-853C4DAB06B3}">
      <dgm:prSet/>
      <dgm:spPr/>
      <dgm:t>
        <a:bodyPr/>
        <a:lstStyle/>
        <a:p>
          <a:endParaRPr lang="en-US"/>
        </a:p>
      </dgm:t>
    </dgm:pt>
    <dgm:pt modelId="{799D09F2-F426-444A-B0EC-CEF2640D7C4E}" type="sibTrans" cxnId="{EF8E07AC-0CD2-A044-A5CC-853C4DAB06B3}">
      <dgm:prSet/>
      <dgm:spPr/>
      <dgm:t>
        <a:bodyPr/>
        <a:lstStyle/>
        <a:p>
          <a:endParaRPr lang="en-US"/>
        </a:p>
      </dgm:t>
    </dgm:pt>
    <dgm:pt modelId="{ED923B2D-A1DE-4BD9-80A4-56D1FB5A6A61}" type="pres">
      <dgm:prSet presAssocID="{25BEA2D2-DB9A-4444-81F4-71F89CD4E48E}" presName="Name0" presStyleCnt="0">
        <dgm:presLayoutVars>
          <dgm:dir/>
          <dgm:resizeHandles val="exact"/>
        </dgm:presLayoutVars>
      </dgm:prSet>
      <dgm:spPr/>
    </dgm:pt>
    <dgm:pt modelId="{E19D05D0-D060-4799-ABBC-FBABF55AAA97}" type="pres">
      <dgm:prSet presAssocID="{C62D2D9F-D5B3-413F-8994-67C280F426B9}" presName="parTxOnly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106BC45-97A3-445A-A6EE-A14E37BFFA46}" type="pres">
      <dgm:prSet presAssocID="{27990CBC-B45D-48EE-877F-8714E642CE3B}" presName="parSpace" presStyleCnt="0"/>
      <dgm:spPr/>
    </dgm:pt>
    <dgm:pt modelId="{B2CF0B22-A7EB-43A6-AD7C-F4DFCD984EC3}" type="pres">
      <dgm:prSet presAssocID="{745F9F70-FB1B-4208-B4CB-B47BA4E56EAC}" presName="parTxOnly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DCDFD7-1132-4EEC-85AD-81FB850A3C9D}" type="pres">
      <dgm:prSet presAssocID="{E2D10985-745F-4F48-BFB6-0D8912A2E3B8}" presName="parSpace" presStyleCnt="0"/>
      <dgm:spPr/>
    </dgm:pt>
    <dgm:pt modelId="{87391CBA-67D1-475B-9D0E-7E7239551038}" type="pres">
      <dgm:prSet presAssocID="{84A39088-4C9A-4F9B-9807-40684801FC98}" presName="parTxOnly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D89F03-127C-49AD-A259-4252FEEED0AD}" type="pres">
      <dgm:prSet presAssocID="{5C6A5DA6-2AEC-4C64-B697-919B769929EB}" presName="parSpace" presStyleCnt="0"/>
      <dgm:spPr/>
    </dgm:pt>
    <dgm:pt modelId="{2C15BF5A-D194-44B6-B6E9-465624ED6517}" type="pres">
      <dgm:prSet presAssocID="{577E9EEF-C82C-4812-88DA-8B9E4569D753}" presName="parTxOnly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26288B-1F4A-E345-9CD8-6DBA53F7D2D5}" type="pres">
      <dgm:prSet presAssocID="{5A655027-6936-405E-A349-CD72267C60EF}" presName="parSpace" presStyleCnt="0"/>
      <dgm:spPr/>
    </dgm:pt>
    <dgm:pt modelId="{A7C171C6-5735-764C-BDF7-A55CFF465F63}" type="pres">
      <dgm:prSet presAssocID="{3409D6D0-C9DA-F541-B2E8-EAA014FBB25E}" presName="parTxOnly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677F2D9-A934-4B03-B9B6-6AA89EFE07A5}" type="presOf" srcId="{3409D6D0-C9DA-F541-B2E8-EAA014FBB25E}" destId="{A7C171C6-5735-764C-BDF7-A55CFF465F63}" srcOrd="0" destOrd="0" presId="urn:microsoft.com/office/officeart/2005/8/layout/hChevron3"/>
    <dgm:cxn modelId="{A05275CB-F728-488E-A100-63007DA933E5}" srcId="{25BEA2D2-DB9A-4444-81F4-71F89CD4E48E}" destId="{577E9EEF-C82C-4812-88DA-8B9E4569D753}" srcOrd="3" destOrd="0" parTransId="{D709DABF-2021-409C-A248-915631B8E103}" sibTransId="{5A655027-6936-405E-A349-CD72267C60EF}"/>
    <dgm:cxn modelId="{037FB4BC-A5C9-4D81-B77B-1F33DD38B5C6}" type="presOf" srcId="{745F9F70-FB1B-4208-B4CB-B47BA4E56EAC}" destId="{B2CF0B22-A7EB-43A6-AD7C-F4DFCD984EC3}" srcOrd="0" destOrd="0" presId="urn:microsoft.com/office/officeart/2005/8/layout/hChevron3"/>
    <dgm:cxn modelId="{A251407C-B97A-49D6-A876-52CC7FF7FB80}" srcId="{25BEA2D2-DB9A-4444-81F4-71F89CD4E48E}" destId="{84A39088-4C9A-4F9B-9807-40684801FC98}" srcOrd="2" destOrd="0" parTransId="{21E0FDD7-7141-4CFC-B9F3-B39A04D1AB54}" sibTransId="{5C6A5DA6-2AEC-4C64-B697-919B769929EB}"/>
    <dgm:cxn modelId="{7B7969D1-52C6-46B2-AE22-042414C31F7C}" type="presOf" srcId="{25BEA2D2-DB9A-4444-81F4-71F89CD4E48E}" destId="{ED923B2D-A1DE-4BD9-80A4-56D1FB5A6A61}" srcOrd="0" destOrd="0" presId="urn:microsoft.com/office/officeart/2005/8/layout/hChevron3"/>
    <dgm:cxn modelId="{EF8E07AC-0CD2-A044-A5CC-853C4DAB06B3}" srcId="{25BEA2D2-DB9A-4444-81F4-71F89CD4E48E}" destId="{3409D6D0-C9DA-F541-B2E8-EAA014FBB25E}" srcOrd="4" destOrd="0" parTransId="{79A4D817-FD5B-F44A-B333-323207AD0FE5}" sibTransId="{799D09F2-F426-444A-B0EC-CEF2640D7C4E}"/>
    <dgm:cxn modelId="{1E002EE9-7AEA-4E1A-B06B-82D235860754}" srcId="{25BEA2D2-DB9A-4444-81F4-71F89CD4E48E}" destId="{745F9F70-FB1B-4208-B4CB-B47BA4E56EAC}" srcOrd="1" destOrd="0" parTransId="{C9BDEA4F-F617-47A9-97EB-53CA458F7CCC}" sibTransId="{E2D10985-745F-4F48-BFB6-0D8912A2E3B8}"/>
    <dgm:cxn modelId="{F43E617B-3743-434E-BE2C-5FDBD1D4CEA7}" type="presOf" srcId="{577E9EEF-C82C-4812-88DA-8B9E4569D753}" destId="{2C15BF5A-D194-44B6-B6E9-465624ED6517}" srcOrd="0" destOrd="0" presId="urn:microsoft.com/office/officeart/2005/8/layout/hChevron3"/>
    <dgm:cxn modelId="{FDC8DB10-1916-45F1-8B21-EB5616C6621F}" type="presOf" srcId="{C62D2D9F-D5B3-413F-8994-67C280F426B9}" destId="{E19D05D0-D060-4799-ABBC-FBABF55AAA97}" srcOrd="0" destOrd="0" presId="urn:microsoft.com/office/officeart/2005/8/layout/hChevron3"/>
    <dgm:cxn modelId="{07F3AA3C-E138-47E3-B7AB-03CD221BC72E}" type="presOf" srcId="{84A39088-4C9A-4F9B-9807-40684801FC98}" destId="{87391CBA-67D1-475B-9D0E-7E7239551038}" srcOrd="0" destOrd="0" presId="urn:microsoft.com/office/officeart/2005/8/layout/hChevron3"/>
    <dgm:cxn modelId="{C70ADFB7-5A82-4EB8-91B6-2194EE385163}" srcId="{25BEA2D2-DB9A-4444-81F4-71F89CD4E48E}" destId="{C62D2D9F-D5B3-413F-8994-67C280F426B9}" srcOrd="0" destOrd="0" parTransId="{8F4F6E8D-B264-4C31-B986-506963F84ED9}" sibTransId="{27990CBC-B45D-48EE-877F-8714E642CE3B}"/>
    <dgm:cxn modelId="{E6FAF115-60C5-4E55-8940-13CB0417B030}" type="presParOf" srcId="{ED923B2D-A1DE-4BD9-80A4-56D1FB5A6A61}" destId="{E19D05D0-D060-4799-ABBC-FBABF55AAA97}" srcOrd="0" destOrd="0" presId="urn:microsoft.com/office/officeart/2005/8/layout/hChevron3"/>
    <dgm:cxn modelId="{A9D38EFF-44BE-430F-870C-8BD778368DD7}" type="presParOf" srcId="{ED923B2D-A1DE-4BD9-80A4-56D1FB5A6A61}" destId="{C106BC45-97A3-445A-A6EE-A14E37BFFA46}" srcOrd="1" destOrd="0" presId="urn:microsoft.com/office/officeart/2005/8/layout/hChevron3"/>
    <dgm:cxn modelId="{1C6D802A-516A-4C6A-AF22-2EA9F6840C87}" type="presParOf" srcId="{ED923B2D-A1DE-4BD9-80A4-56D1FB5A6A61}" destId="{B2CF0B22-A7EB-43A6-AD7C-F4DFCD984EC3}" srcOrd="2" destOrd="0" presId="urn:microsoft.com/office/officeart/2005/8/layout/hChevron3"/>
    <dgm:cxn modelId="{6BBA9157-82E4-4F01-A84A-BB289B883713}" type="presParOf" srcId="{ED923B2D-A1DE-4BD9-80A4-56D1FB5A6A61}" destId="{86DCDFD7-1132-4EEC-85AD-81FB850A3C9D}" srcOrd="3" destOrd="0" presId="urn:microsoft.com/office/officeart/2005/8/layout/hChevron3"/>
    <dgm:cxn modelId="{2FB4BBF1-EBDA-42C1-81A9-84AD7F50706F}" type="presParOf" srcId="{ED923B2D-A1DE-4BD9-80A4-56D1FB5A6A61}" destId="{87391CBA-67D1-475B-9D0E-7E7239551038}" srcOrd="4" destOrd="0" presId="urn:microsoft.com/office/officeart/2005/8/layout/hChevron3"/>
    <dgm:cxn modelId="{60E1623D-4DCF-4146-84A3-25C5D1CF9756}" type="presParOf" srcId="{ED923B2D-A1DE-4BD9-80A4-56D1FB5A6A61}" destId="{86D89F03-127C-49AD-A259-4252FEEED0AD}" srcOrd="5" destOrd="0" presId="urn:microsoft.com/office/officeart/2005/8/layout/hChevron3"/>
    <dgm:cxn modelId="{63888265-7CE4-4337-944D-FF9E10ECCA4E}" type="presParOf" srcId="{ED923B2D-A1DE-4BD9-80A4-56D1FB5A6A61}" destId="{2C15BF5A-D194-44B6-B6E9-465624ED6517}" srcOrd="6" destOrd="0" presId="urn:microsoft.com/office/officeart/2005/8/layout/hChevron3"/>
    <dgm:cxn modelId="{36C244EF-5824-43D7-9785-AAC3868B75BE}" type="presParOf" srcId="{ED923B2D-A1DE-4BD9-80A4-56D1FB5A6A61}" destId="{F026288B-1F4A-E345-9CD8-6DBA53F7D2D5}" srcOrd="7" destOrd="0" presId="urn:microsoft.com/office/officeart/2005/8/layout/hChevron3"/>
    <dgm:cxn modelId="{FD767E03-BF29-438A-9984-0AC9FDD72577}" type="presParOf" srcId="{ED923B2D-A1DE-4BD9-80A4-56D1FB5A6A61}" destId="{A7C171C6-5735-764C-BDF7-A55CFF465F63}" srcOrd="8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4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9D05D0-D060-4799-ABBC-FBABF55AAA97}">
      <dsp:nvSpPr>
        <dsp:cNvPr id="0" name=""/>
        <dsp:cNvSpPr/>
      </dsp:nvSpPr>
      <dsp:spPr>
        <a:xfrm>
          <a:off x="976" y="0"/>
          <a:ext cx="1904534" cy="457199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2682" tIns="61341" rIns="30671" bIns="61341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2011</a:t>
          </a:r>
          <a:endParaRPr lang="en-US" sz="2300" kern="1200" dirty="0"/>
        </a:p>
      </dsp:txBody>
      <dsp:txXfrm>
        <a:off x="976" y="0"/>
        <a:ext cx="1790234" cy="457199"/>
      </dsp:txXfrm>
    </dsp:sp>
    <dsp:sp modelId="{B2CF0B22-A7EB-43A6-AD7C-F4DFCD984EC3}">
      <dsp:nvSpPr>
        <dsp:cNvPr id="0" name=""/>
        <dsp:cNvSpPr/>
      </dsp:nvSpPr>
      <dsp:spPr>
        <a:xfrm>
          <a:off x="1524604" y="0"/>
          <a:ext cx="1904534" cy="457199"/>
        </a:xfrm>
        <a:prstGeom prst="chevron">
          <a:avLst/>
        </a:prstGeom>
        <a:solidFill>
          <a:schemeClr val="accent2">
            <a:hueOff val="1170380"/>
            <a:satOff val="-1460"/>
            <a:lumOff val="3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2012</a:t>
          </a:r>
          <a:endParaRPr lang="en-US" sz="2300" kern="1200" dirty="0"/>
        </a:p>
      </dsp:txBody>
      <dsp:txXfrm>
        <a:off x="1753204" y="0"/>
        <a:ext cx="1447335" cy="457199"/>
      </dsp:txXfrm>
    </dsp:sp>
    <dsp:sp modelId="{87391CBA-67D1-475B-9D0E-7E7239551038}">
      <dsp:nvSpPr>
        <dsp:cNvPr id="0" name=""/>
        <dsp:cNvSpPr/>
      </dsp:nvSpPr>
      <dsp:spPr>
        <a:xfrm>
          <a:off x="3048232" y="0"/>
          <a:ext cx="1904534" cy="457199"/>
        </a:xfrm>
        <a:prstGeom prst="chevron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2013</a:t>
          </a:r>
          <a:endParaRPr lang="en-US" sz="2300" kern="1200" dirty="0"/>
        </a:p>
      </dsp:txBody>
      <dsp:txXfrm>
        <a:off x="3276832" y="0"/>
        <a:ext cx="1447335" cy="457199"/>
      </dsp:txXfrm>
    </dsp:sp>
    <dsp:sp modelId="{2C15BF5A-D194-44B6-B6E9-465624ED6517}">
      <dsp:nvSpPr>
        <dsp:cNvPr id="0" name=""/>
        <dsp:cNvSpPr/>
      </dsp:nvSpPr>
      <dsp:spPr>
        <a:xfrm>
          <a:off x="4571860" y="0"/>
          <a:ext cx="1904534" cy="457199"/>
        </a:xfrm>
        <a:prstGeom prst="chevron">
          <a:avLst/>
        </a:prstGeom>
        <a:solidFill>
          <a:schemeClr val="accent2">
            <a:hueOff val="3511139"/>
            <a:satOff val="-4379"/>
            <a:lumOff val="10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2014</a:t>
          </a:r>
          <a:endParaRPr lang="en-US" sz="2300" kern="1200" dirty="0"/>
        </a:p>
      </dsp:txBody>
      <dsp:txXfrm>
        <a:off x="4800460" y="0"/>
        <a:ext cx="1447335" cy="457199"/>
      </dsp:txXfrm>
    </dsp:sp>
    <dsp:sp modelId="{A7C171C6-5735-764C-BDF7-A55CFF465F63}">
      <dsp:nvSpPr>
        <dsp:cNvPr id="0" name=""/>
        <dsp:cNvSpPr/>
      </dsp:nvSpPr>
      <dsp:spPr>
        <a:xfrm>
          <a:off x="6095488" y="0"/>
          <a:ext cx="1904534" cy="457199"/>
        </a:xfrm>
        <a:prstGeom prst="chevron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012" tIns="61341" rIns="30671" bIns="61341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2015</a:t>
          </a:r>
          <a:endParaRPr lang="en-US" sz="2300" kern="1200" dirty="0"/>
        </a:p>
      </dsp:txBody>
      <dsp:txXfrm>
        <a:off x="6324088" y="0"/>
        <a:ext cx="1447335" cy="4571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6333" y="0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3D9D8229-B45E-41D8-AA1D-5A0A79317C10}" type="datetimeFigureOut">
              <a:rPr lang="en-US" smtClean="0"/>
              <a:pPr/>
              <a:t>10/1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9014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6333" y="8839014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78F4E4C0-566C-41B3-9AA0-AFC080F19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11130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3" y="0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FBA0E349-0E8F-4349-9DA2-5D9965ACE522}" type="datetimeFigureOut">
              <a:rPr lang="en-US" smtClean="0"/>
              <a:t>10/14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20315"/>
            <a:ext cx="5615940" cy="4187666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4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3" y="8839014"/>
            <a:ext cx="3041968" cy="465296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931E6A6E-5217-464E-ADD0-14FD089461B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811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 txBox="1">
            <a:spLocks noGrp="1" noChangeArrowheads="1"/>
          </p:cNvSpPr>
          <p:nvPr/>
        </p:nvSpPr>
        <p:spPr bwMode="auto">
          <a:xfrm>
            <a:off x="5267123" y="6658445"/>
            <a:ext cx="4027179" cy="350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402" tIns="46702" rIns="93402" bIns="46702" anchor="b"/>
          <a:lstStyle>
            <a:lvl1pPr defTabSz="9398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398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398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398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39800" eaLnBrk="0" hangingPunct="0"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39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/>
            <a:fld id="{BE87BD29-EF46-4591-83AF-854491D3B9D7}" type="slidenum">
              <a:rPr lang="en-US" sz="1200">
                <a:solidFill>
                  <a:srgbClr val="000000"/>
                </a:solidFill>
              </a:rPr>
              <a:pPr algn="r" eaLnBrk="1" hangingPunct="1"/>
              <a:t>7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909888" y="523875"/>
            <a:ext cx="3482975" cy="2613025"/>
          </a:xfrm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28641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0200" y="990601"/>
            <a:ext cx="7391400" cy="1904999"/>
          </a:xfrm>
        </p:spPr>
        <p:txBody>
          <a:bodyPr>
            <a:normAutofit/>
          </a:bodyPr>
          <a:lstStyle>
            <a:lvl1pPr algn="l">
              <a:defRPr sz="5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3048000"/>
            <a:ext cx="7391400" cy="1447800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BB41B-201F-4EED-A388-D53A315861E0}" type="datetime1">
              <a:rPr lang="en-US" smtClean="0"/>
              <a:t>10/1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7" descr="TexasFla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447800" cy="68580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 thruBlk="1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274638"/>
            <a:ext cx="7620000" cy="1143000"/>
          </a:xfrm>
        </p:spPr>
        <p:txBody>
          <a:bodyPr/>
          <a:lstStyle>
            <a:lvl1pPr algn="l">
              <a:defRPr b="1">
                <a:latin typeface="Cambria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5400" y="1600200"/>
            <a:ext cx="76962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BC97E-70DD-467D-ACCF-2200BBC2C9DA}" type="datetime1">
              <a:rPr lang="en-US" smtClean="0"/>
              <a:t>10/1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7" descr="TexasFla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28600" y="0"/>
            <a:ext cx="1447800" cy="68580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274638"/>
            <a:ext cx="7391400" cy="1143000"/>
          </a:xfrm>
        </p:spPr>
        <p:txBody>
          <a:bodyPr/>
          <a:lstStyle>
            <a:lvl1pPr algn="l">
              <a:defRPr b="1">
                <a:latin typeface="Cambria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5400" y="1600200"/>
            <a:ext cx="3810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34000" y="1600200"/>
            <a:ext cx="35814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C409D-7494-49DC-A16E-4B2D42693D00}" type="datetime1">
              <a:rPr lang="en-US" smtClean="0"/>
              <a:t>10/1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TexasFla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28600" y="0"/>
            <a:ext cx="1447800" cy="68580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 thruBlk="1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274638"/>
            <a:ext cx="7391400" cy="1143000"/>
          </a:xfrm>
        </p:spPr>
        <p:txBody>
          <a:bodyPr/>
          <a:lstStyle>
            <a:lvl1pPr algn="l">
              <a:defRPr b="1">
                <a:latin typeface="Cambria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2B437-8448-4E40-AAD0-9DE08559F1D4}" type="datetime1">
              <a:rPr lang="en-US" smtClean="0"/>
              <a:t>10/1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 descr="TexasFla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28600" y="0"/>
            <a:ext cx="1447800" cy="68580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0F1A7-7876-4285-82FA-89F6FB3C5135}" type="datetime1">
              <a:rPr lang="en-US" smtClean="0"/>
              <a:t>10/14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TexasFla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228600" y="0"/>
            <a:ext cx="1447800" cy="6858000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000099"/>
            </a:gs>
            <a:gs pos="100000">
              <a:schemeClr val="bg2">
                <a:shade val="30000"/>
                <a:satMod val="200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989A2C-1D33-4D68-8135-1811C823971F}" type="datetime1">
              <a:rPr lang="en-US" smtClean="0"/>
              <a:t>10/1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744734-EED9-4E95-8605-F304C3A682C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</p:sldLayoutIdLst>
  <p:transition spd="med">
    <p:fade thruBlk="1"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diagramQuickStyle" Target="../diagrams/quickStyle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diagramLayout" Target="../diagrams/layout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diagramData" Target="../diagrams/data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microsoft.com/office/2007/relationships/diagramDrawing" Target="../diagrams/drawing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slideLayout" Target="../slideLayouts/slideLayout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diagramColors" Target="../diagrams/colors1.xml"/><Relationship Id="rId8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5.jpeg"/><Relationship Id="rId18" Type="http://schemas.openxmlformats.org/officeDocument/2006/relationships/hyperlink" Target="http://www.oracle.com/" TargetMode="External"/><Relationship Id="rId26" Type="http://schemas.openxmlformats.org/officeDocument/2006/relationships/hyperlink" Target="http://en.wikipedia.org/wiki/File:TXUenergyLogo.jpg" TargetMode="External"/><Relationship Id="rId3" Type="http://schemas.openxmlformats.org/officeDocument/2006/relationships/image" Target="../media/image6.png"/><Relationship Id="rId21" Type="http://schemas.openxmlformats.org/officeDocument/2006/relationships/image" Target="../media/image19.png"/><Relationship Id="rId34" Type="http://schemas.openxmlformats.org/officeDocument/2006/relationships/image" Target="../media/image28.png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17" Type="http://schemas.openxmlformats.org/officeDocument/2006/relationships/image" Target="../media/image17.png"/><Relationship Id="rId25" Type="http://schemas.openxmlformats.org/officeDocument/2006/relationships/image" Target="../media/image21.png"/><Relationship Id="rId3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6" Type="http://schemas.openxmlformats.org/officeDocument/2006/relationships/hyperlink" Target="http://www.luciddesigngroup.com/index.php" TargetMode="External"/><Relationship Id="rId20" Type="http://schemas.openxmlformats.org/officeDocument/2006/relationships/hyperlink" Target="http://en.wikipedia.org/wiki/File:Schneider_Electric.svg" TargetMode="External"/><Relationship Id="rId29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11" Type="http://schemas.openxmlformats.org/officeDocument/2006/relationships/hyperlink" Target="http://firstfuel.com/home" TargetMode="External"/><Relationship Id="rId24" Type="http://schemas.openxmlformats.org/officeDocument/2006/relationships/hyperlink" Target="http://utilities.simpleenergy.com/" TargetMode="External"/><Relationship Id="rId32" Type="http://schemas.openxmlformats.org/officeDocument/2006/relationships/image" Target="../media/image26.png"/><Relationship Id="rId5" Type="http://schemas.openxmlformats.org/officeDocument/2006/relationships/image" Target="../media/image8.png"/><Relationship Id="rId15" Type="http://schemas.openxmlformats.org/officeDocument/2006/relationships/image" Target="../media/image16.png"/><Relationship Id="rId23" Type="http://schemas.openxmlformats.org/officeDocument/2006/relationships/image" Target="../media/image20.png"/><Relationship Id="rId28" Type="http://schemas.openxmlformats.org/officeDocument/2006/relationships/image" Target="../media/image23.png"/><Relationship Id="rId10" Type="http://schemas.openxmlformats.org/officeDocument/2006/relationships/image" Target="../media/image13.png"/><Relationship Id="rId19" Type="http://schemas.openxmlformats.org/officeDocument/2006/relationships/image" Target="../media/image18.png"/><Relationship Id="rId31" Type="http://schemas.openxmlformats.org/officeDocument/2006/relationships/image" Target="../media/image25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hyperlink" Target="https://en.wikipedia.org/wiki/File:Honeywell_logo.svg" TargetMode="External"/><Relationship Id="rId22" Type="http://schemas.openxmlformats.org/officeDocument/2006/relationships/hyperlink" Target="http://www.sunrunhome.com/" TargetMode="External"/><Relationship Id="rId27" Type="http://schemas.openxmlformats.org/officeDocument/2006/relationships/image" Target="../media/image22.jpeg"/><Relationship Id="rId30" Type="http://schemas.openxmlformats.org/officeDocument/2006/relationships/hyperlink" Target="http://www.psdconsulting.com/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00200" y="990600"/>
            <a:ext cx="7391400" cy="2209799"/>
          </a:xfrm>
          <a:ln>
            <a:noFill/>
          </a:ln>
        </p:spPr>
        <p:txBody>
          <a:bodyPr>
            <a:noAutofit/>
          </a:bodyPr>
          <a:lstStyle/>
          <a:p>
            <a:r>
              <a:rPr lang="en-US" sz="5300" b="1" dirty="0" smtClean="0">
                <a:latin typeface="+mj-lt"/>
              </a:rPr>
              <a:t>Customer Data Access</a:t>
            </a:r>
            <a:br>
              <a:rPr lang="en-US" sz="5300" b="1" dirty="0" smtClean="0">
                <a:latin typeface="+mj-lt"/>
              </a:rPr>
            </a:br>
            <a:r>
              <a:rPr lang="en-US" sz="5300" dirty="0" smtClean="0">
                <a:latin typeface="+mj-lt"/>
              </a:rPr>
              <a:t>-The New Ground Floor</a:t>
            </a:r>
            <a:endParaRPr lang="en-US" sz="4800" b="0" dirty="0">
              <a:latin typeface="+mj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0200" y="4800600"/>
            <a:ext cx="7157987" cy="1752600"/>
          </a:xfrm>
          <a:ln>
            <a:noFill/>
          </a:ln>
        </p:spPr>
        <p:txBody>
          <a:bodyPr>
            <a:normAutofit/>
          </a:bodyPr>
          <a:lstStyle/>
          <a:p>
            <a:pPr algn="l"/>
            <a:r>
              <a:rPr lang="en-US" sz="2800" dirty="0" smtClean="0">
                <a:solidFill>
                  <a:schemeClr val="tx1"/>
                </a:solidFill>
              </a:rPr>
              <a:t>Christopher Irwin</a:t>
            </a:r>
            <a:endParaRPr lang="en-US" sz="2800" dirty="0" smtClean="0">
              <a:solidFill>
                <a:schemeClr val="tx1"/>
              </a:solidFill>
            </a:endParaRPr>
          </a:p>
          <a:p>
            <a:pPr algn="l"/>
            <a:r>
              <a:rPr lang="en-US" sz="2800" dirty="0" smtClean="0">
                <a:solidFill>
                  <a:schemeClr val="tx1"/>
                </a:solidFill>
              </a:rPr>
              <a:t>US Department of Energy – Office of Electricity</a:t>
            </a:r>
            <a:endParaRPr lang="en-US" sz="2800" dirty="0" smtClean="0">
              <a:solidFill>
                <a:schemeClr val="tx1"/>
              </a:solidFill>
            </a:endParaRPr>
          </a:p>
          <a:p>
            <a:pPr algn="l"/>
            <a:r>
              <a:rPr lang="en-US" sz="2800" dirty="0" smtClean="0">
                <a:solidFill>
                  <a:schemeClr val="tx1"/>
                </a:solidFill>
              </a:rPr>
              <a:t>Oct 16, 2015</a:t>
            </a:r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ick Backgrou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oject Officer - $1.5B in Smart Grid Investment Grant grid modernization projects</a:t>
            </a:r>
          </a:p>
          <a:p>
            <a:r>
              <a:rPr lang="en-US" dirty="0" smtClean="0"/>
              <a:t>Texas: CenterPoint Energy, </a:t>
            </a:r>
            <a:r>
              <a:rPr lang="en-US" dirty="0" err="1" smtClean="0"/>
              <a:t>CoServ</a:t>
            </a:r>
            <a:r>
              <a:rPr lang="en-US" dirty="0" smtClean="0"/>
              <a:t> Electric, Golden Spread Electric Cooperative</a:t>
            </a:r>
          </a:p>
          <a:p>
            <a:r>
              <a:rPr lang="en-US" dirty="0" smtClean="0"/>
              <a:t>DOE founding member of the Green Button Initiative – an industry standard advanced under a public bra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258420"/>
      </p:ext>
    </p:extLst>
  </p:cSld>
  <p:clrMapOvr>
    <a:masterClrMapping/>
  </p:clrMapOvr>
  <p:transition spd="med"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w Ground Floo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Customers have a right to their consumption data</a:t>
            </a:r>
          </a:p>
          <a:p>
            <a:r>
              <a:rPr lang="en-US" dirty="0" smtClean="0"/>
              <a:t>Data must be easily human and machine accessible, and easy to share with whomever the customer trusts (think GPS)</a:t>
            </a:r>
          </a:p>
          <a:p>
            <a:r>
              <a:rPr lang="en-US" dirty="0" smtClean="0"/>
              <a:t>Organizations who operate in the public trust have an obligation to maximize public benefit and the efficiency with which it is delivere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411436"/>
      </p:ext>
    </p:extLst>
  </p:cSld>
  <p:clrMapOvr>
    <a:masterClrMapping/>
  </p:clrMapOvr>
  <p:transition spd="med">
    <p:fade thruBlk="1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67846" y="260455"/>
            <a:ext cx="5666354" cy="533400"/>
          </a:xfrm>
        </p:spPr>
        <p:txBody>
          <a:bodyPr>
            <a:noAutofit/>
          </a:bodyPr>
          <a:lstStyle/>
          <a:p>
            <a:r>
              <a:rPr lang="en-US" sz="2800" dirty="0" smtClean="0"/>
              <a:t>Green Button Initiative Overview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553200" y="6015037"/>
            <a:ext cx="2133600" cy="365125"/>
          </a:xfrm>
        </p:spPr>
        <p:txBody>
          <a:bodyPr/>
          <a:lstStyle/>
          <a:p>
            <a:fld id="{A2E72796-2EB7-4C9E-80AE-CC1F5F2725A3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227391" y="862908"/>
            <a:ext cx="4097114" cy="4471091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660066"/>
              </a:buClr>
              <a:buFont typeface="Arial"/>
              <a:buChar char="•"/>
              <a:defRPr sz="2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chemeClr val="accent5">
                  <a:lumMod val="75000"/>
                </a:schemeClr>
              </a:buClr>
              <a:buFont typeface="Arial"/>
              <a:buChar char="–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latin typeface="+mn-lt"/>
              </a:rPr>
              <a:t>Common-sense idea that </a:t>
            </a:r>
            <a:r>
              <a:rPr lang="en-US" sz="1600" b="1" dirty="0">
                <a:latin typeface="+mn-lt"/>
              </a:rPr>
              <a:t>electricity customers should be able to download and transmit their own energy usage information </a:t>
            </a:r>
            <a:r>
              <a:rPr lang="en-US" sz="1600" dirty="0">
                <a:latin typeface="+mn-lt"/>
              </a:rPr>
              <a:t>in a standard consumer- and computer-friendly format</a:t>
            </a:r>
          </a:p>
          <a:p>
            <a:pPr fontAlgn="auto">
              <a:spcAft>
                <a:spcPts val="0"/>
              </a:spcAft>
            </a:pPr>
            <a:r>
              <a:rPr lang="en-US" sz="1600" dirty="0" smtClean="0">
                <a:latin typeface="+mn-lt"/>
              </a:rPr>
              <a:t>Brings energy data closer to the “App Economy” and software developers</a:t>
            </a:r>
          </a:p>
          <a:p>
            <a:pPr fontAlgn="auto">
              <a:spcAft>
                <a:spcPts val="0"/>
              </a:spcAft>
            </a:pPr>
            <a:r>
              <a:rPr lang="en-US" sz="1600" dirty="0" smtClean="0">
                <a:latin typeface="+mn-lt"/>
              </a:rPr>
              <a:t>US: Available to 60+ million customers based on utility commitments </a:t>
            </a:r>
          </a:p>
          <a:p>
            <a:pPr fontAlgn="auto">
              <a:spcAft>
                <a:spcPts val="0"/>
              </a:spcAft>
            </a:pPr>
            <a:r>
              <a:rPr lang="en-US" sz="1600" dirty="0" smtClean="0">
                <a:latin typeface="+mn-lt"/>
              </a:rPr>
              <a:t>CANADA: 2.6 million+</a:t>
            </a:r>
          </a:p>
          <a:p>
            <a:pPr fontAlgn="auto">
              <a:spcAft>
                <a:spcPts val="0"/>
              </a:spcAft>
            </a:pPr>
            <a:r>
              <a:rPr lang="en-US" sz="1600" dirty="0" smtClean="0">
                <a:latin typeface="+mn-lt"/>
              </a:rPr>
              <a:t>Result of collaboration among White House, NIST, DOE, state regulators, utilities, vendors, Smart Grid Interoperability Panel, and North American Energy Standards Board</a:t>
            </a:r>
          </a:p>
          <a:p>
            <a:pPr fontAlgn="auto">
              <a:spcAft>
                <a:spcPts val="0"/>
              </a:spcAft>
            </a:pPr>
            <a:r>
              <a:rPr lang="en-US" sz="1600" dirty="0" smtClean="0">
                <a:latin typeface="+mn-lt"/>
              </a:rPr>
              <a:t>Two options: Green Button Download My Data and Green Button Connect My Data</a:t>
            </a:r>
          </a:p>
          <a:p>
            <a:pPr fontAlgn="auto">
              <a:spcAft>
                <a:spcPts val="0"/>
              </a:spcAft>
            </a:pPr>
            <a:endParaRPr lang="en-US" sz="1600" dirty="0" smtClean="0"/>
          </a:p>
        </p:txBody>
      </p:sp>
      <p:pic>
        <p:nvPicPr>
          <p:cNvPr id="6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44" r="17844"/>
          <a:stretch>
            <a:fillRect/>
          </a:stretch>
        </p:blipFill>
        <p:spPr bwMode="auto">
          <a:xfrm>
            <a:off x="5524726" y="3081481"/>
            <a:ext cx="3200400" cy="3238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eft Arrow 6"/>
          <p:cNvSpPr/>
          <p:nvPr/>
        </p:nvSpPr>
        <p:spPr>
          <a:xfrm>
            <a:off x="5257800" y="5830887"/>
            <a:ext cx="2744788" cy="303213"/>
          </a:xfrm>
          <a:prstGeom prst="leftArrow">
            <a:avLst>
              <a:gd name="adj1" fmla="val 50000"/>
              <a:gd name="adj2" fmla="val 138739"/>
            </a:avLst>
          </a:prstGeom>
          <a:solidFill>
            <a:srgbClr val="00B050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tIns="91440" bIns="91440" anchor="ctr"/>
          <a:lstStyle/>
          <a:p>
            <a:pPr algn="ctr">
              <a:defRPr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457968" y="2742927"/>
            <a:ext cx="37790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Map of US Green Button Commitments</a:t>
            </a:r>
            <a:endParaRPr lang="en-US" sz="1600" dirty="0"/>
          </a:p>
        </p:txBody>
      </p:sp>
      <p:pic>
        <p:nvPicPr>
          <p:cNvPr id="11" name="Picture 10" descr="Updated GB Map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1" y="902488"/>
            <a:ext cx="3200400" cy="1832708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5009" y="5334000"/>
            <a:ext cx="1661549" cy="778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6091" y="5334000"/>
            <a:ext cx="1615680" cy="8231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5625737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An Overnight Success”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80" name="Group 79"/>
          <p:cNvGrpSpPr/>
          <p:nvPr/>
        </p:nvGrpSpPr>
        <p:grpSpPr>
          <a:xfrm>
            <a:off x="914400" y="1782877"/>
            <a:ext cx="8001000" cy="4207647"/>
            <a:chOff x="685800" y="1515396"/>
            <a:chExt cx="8001000" cy="4207647"/>
          </a:xfrm>
        </p:grpSpPr>
        <p:grpSp>
          <p:nvGrpSpPr>
            <p:cNvPr id="4" name="Group 3"/>
            <p:cNvGrpSpPr/>
            <p:nvPr/>
          </p:nvGrpSpPr>
          <p:grpSpPr>
            <a:xfrm>
              <a:off x="1828800" y="1515396"/>
              <a:ext cx="1421709" cy="2370804"/>
              <a:chOff x="3658987" y="2857519"/>
              <a:chExt cx="1676400" cy="2286000"/>
            </a:xfrm>
          </p:grpSpPr>
          <p:sp>
            <p:nvSpPr>
              <p:cNvPr id="5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6" name="milestoneshape"/>
              <p:cNvCxnSpPr/>
              <p:nvPr>
                <p:custDataLst>
                  <p:tags r:id="rId41"/>
                </p:custDataLst>
              </p:nvPr>
            </p:nvCxnSpPr>
            <p:spPr>
              <a:xfrm>
                <a:off x="3658987" y="2921019"/>
                <a:ext cx="0" cy="2222500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" name="milestoneshape"/>
              <p:cNvSpPr txBox="1"/>
              <p:nvPr>
                <p:custDataLst>
                  <p:tags r:id="rId42"/>
                </p:custDataLst>
              </p:nvPr>
            </p:nvSpPr>
            <p:spPr>
              <a:xfrm>
                <a:off x="3811387" y="2857519"/>
                <a:ext cx="1524000" cy="441659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White House Call to Action</a:t>
                </a:r>
                <a:endParaRPr lang="en-US" sz="1400" dirty="0"/>
              </a:p>
            </p:txBody>
          </p:sp>
          <p:sp>
            <p:nvSpPr>
              <p:cNvPr id="8" name="milestoneshape"/>
              <p:cNvSpPr txBox="1"/>
              <p:nvPr>
                <p:custDataLst>
                  <p:tags r:id="rId43"/>
                </p:custDataLst>
              </p:nvPr>
            </p:nvSpPr>
            <p:spPr>
              <a:xfrm>
                <a:off x="3811387" y="3240932"/>
                <a:ext cx="1397000" cy="228600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9/2011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376714" y="2667000"/>
              <a:ext cx="1421709" cy="1219200"/>
              <a:chOff x="3658987" y="2857519"/>
              <a:chExt cx="1676400" cy="1143000"/>
            </a:xfrm>
          </p:grpSpPr>
          <p:sp>
            <p:nvSpPr>
              <p:cNvPr id="10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11" name="milestoneshape"/>
              <p:cNvCxnSpPr/>
              <p:nvPr>
                <p:custDataLst>
                  <p:tags r:id="rId38"/>
                </p:custDataLst>
              </p:nvPr>
            </p:nvCxnSpPr>
            <p:spPr>
              <a:xfrm>
                <a:off x="3658987" y="2921019"/>
                <a:ext cx="0" cy="1079500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milestoneshape"/>
              <p:cNvSpPr txBox="1"/>
              <p:nvPr>
                <p:custDataLst>
                  <p:tags r:id="rId39"/>
                </p:custDataLst>
              </p:nvPr>
            </p:nvSpPr>
            <p:spPr>
              <a:xfrm>
                <a:off x="3811387" y="2857519"/>
                <a:ext cx="1524000" cy="441659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First DMD</a:t>
                </a:r>
                <a:endParaRPr lang="en-US" sz="1400" dirty="0"/>
              </a:p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Available</a:t>
                </a:r>
                <a:endParaRPr lang="en-US" sz="1400" dirty="0"/>
              </a:p>
            </p:txBody>
          </p:sp>
          <p:sp>
            <p:nvSpPr>
              <p:cNvPr id="13" name="milestoneshape"/>
              <p:cNvSpPr txBox="1"/>
              <p:nvPr>
                <p:custDataLst>
                  <p:tags r:id="rId40"/>
                </p:custDataLst>
              </p:nvPr>
            </p:nvSpPr>
            <p:spPr>
              <a:xfrm>
                <a:off x="3811387" y="3238519"/>
                <a:ext cx="1397001" cy="228600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1/2012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3704426" y="1547118"/>
              <a:ext cx="1454020" cy="2270459"/>
              <a:chOff x="3228887" y="2873060"/>
              <a:chExt cx="1714500" cy="2270459"/>
            </a:xfrm>
          </p:grpSpPr>
          <p:sp>
            <p:nvSpPr>
              <p:cNvPr id="15" name="milestoneshape"/>
              <p:cNvSpPr/>
              <p:nvPr/>
            </p:nvSpPr>
            <p:spPr>
              <a:xfrm rot="16200000">
                <a:off x="3228888" y="2921019"/>
                <a:ext cx="190500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16" name="milestoneshape"/>
              <p:cNvCxnSpPr/>
              <p:nvPr>
                <p:custDataLst>
                  <p:tags r:id="rId35"/>
                </p:custDataLst>
              </p:nvPr>
            </p:nvCxnSpPr>
            <p:spPr>
              <a:xfrm>
                <a:off x="3228887" y="2921019"/>
                <a:ext cx="0" cy="2222500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milestoneshape"/>
              <p:cNvSpPr txBox="1"/>
              <p:nvPr>
                <p:custDataLst>
                  <p:tags r:id="rId36"/>
                </p:custDataLst>
              </p:nvPr>
            </p:nvSpPr>
            <p:spPr>
              <a:xfrm>
                <a:off x="3419387" y="2873060"/>
                <a:ext cx="1524000" cy="441659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Connect My Data Beta Deployments</a:t>
                </a:r>
                <a:endParaRPr lang="en-US" sz="1400" dirty="0"/>
              </a:p>
            </p:txBody>
          </p:sp>
          <p:sp>
            <p:nvSpPr>
              <p:cNvPr id="18" name="milestoneshape"/>
              <p:cNvSpPr txBox="1"/>
              <p:nvPr>
                <p:custDataLst>
                  <p:tags r:id="rId37"/>
                </p:custDataLst>
              </p:nvPr>
            </p:nvSpPr>
            <p:spPr>
              <a:xfrm>
                <a:off x="3460001" y="3472172"/>
                <a:ext cx="1397001" cy="452147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12/2012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/>
          </p:nvGrpSpPr>
          <p:grpSpPr>
            <a:xfrm>
              <a:off x="725718" y="4343400"/>
              <a:ext cx="1508059" cy="1376014"/>
              <a:chOff x="3658987" y="2095519"/>
              <a:chExt cx="1015151" cy="1376014"/>
            </a:xfrm>
          </p:grpSpPr>
          <p:sp>
            <p:nvSpPr>
              <p:cNvPr id="20" name="milestoneshape"/>
              <p:cNvSpPr/>
              <p:nvPr/>
            </p:nvSpPr>
            <p:spPr>
              <a:xfrm rot="16200000">
                <a:off x="3639938" y="2940068"/>
                <a:ext cx="190500" cy="152402"/>
              </a:xfrm>
              <a:prstGeom prst="flowChartMerge">
                <a:avLst/>
              </a:prstGeom>
              <a:solidFill>
                <a:srgbClr val="009999"/>
              </a:solidFill>
              <a:ln w="25400" cap="flat" cmpd="sng" algn="ctr">
                <a:solidFill>
                  <a:srgbClr val="00B050"/>
                </a:solidFill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21" name="milestoneshape"/>
              <p:cNvCxnSpPr/>
              <p:nvPr>
                <p:custDataLst>
                  <p:tags r:id="rId33"/>
                </p:custDataLst>
              </p:nvPr>
            </p:nvCxnSpPr>
            <p:spPr>
              <a:xfrm flipV="1">
                <a:off x="3658987" y="2095519"/>
                <a:ext cx="0" cy="825500"/>
              </a:xfrm>
              <a:prstGeom prst="line">
                <a:avLst/>
              </a:prstGeom>
              <a:ln w="15875">
                <a:solidFill>
                  <a:srgbClr val="00B050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milestoneshape"/>
              <p:cNvSpPr txBox="1"/>
              <p:nvPr>
                <p:custDataLst>
                  <p:tags r:id="rId34"/>
                </p:custDataLst>
              </p:nvPr>
            </p:nvSpPr>
            <p:spPr>
              <a:xfrm>
                <a:off x="3837293" y="2857519"/>
                <a:ext cx="836845" cy="614014"/>
              </a:xfrm>
              <a:prstGeom prst="rect">
                <a:avLst/>
              </a:prstGeom>
              <a:noFill/>
              <a:ln>
                <a:solidFill>
                  <a:srgbClr val="008000"/>
                </a:solidFill>
              </a:ln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0 Customers</a:t>
                </a:r>
              </a:p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(Download My Data)</a:t>
                </a:r>
                <a:endParaRPr lang="en-US" sz="1400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5504544" y="4347029"/>
              <a:ext cx="1281836" cy="1376014"/>
              <a:chOff x="3658987" y="2095519"/>
              <a:chExt cx="1353457" cy="1376014"/>
            </a:xfrm>
          </p:grpSpPr>
          <p:sp>
            <p:nvSpPr>
              <p:cNvPr id="24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9999"/>
              </a:solidFill>
              <a:ln w="25400" cap="flat" cmpd="sng" algn="ctr">
                <a:solidFill>
                  <a:srgbClr val="00B050"/>
                </a:solidFill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25" name="milestoneshape"/>
              <p:cNvCxnSpPr/>
              <p:nvPr>
                <p:custDataLst>
                  <p:tags r:id="rId31"/>
                </p:custDataLst>
              </p:nvPr>
            </p:nvCxnSpPr>
            <p:spPr>
              <a:xfrm flipV="1">
                <a:off x="3658987" y="2095519"/>
                <a:ext cx="0" cy="825500"/>
              </a:xfrm>
              <a:prstGeom prst="line">
                <a:avLst/>
              </a:prstGeom>
              <a:ln w="15875">
                <a:solidFill>
                  <a:srgbClr val="00B050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milestoneshape"/>
              <p:cNvSpPr txBox="1"/>
              <p:nvPr>
                <p:custDataLst>
                  <p:tags r:id="rId32"/>
                </p:custDataLst>
              </p:nvPr>
            </p:nvSpPr>
            <p:spPr>
              <a:xfrm>
                <a:off x="3909358" y="2857519"/>
                <a:ext cx="1103086" cy="614014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42 Million Customer</a:t>
                </a:r>
              </a:p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Accounts</a:t>
                </a:r>
                <a:endParaRPr lang="en-US" sz="1400" dirty="0"/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4078514" y="4347029"/>
              <a:ext cx="1232332" cy="1376014"/>
              <a:chOff x="3658987" y="2095519"/>
              <a:chExt cx="1331686" cy="1376014"/>
            </a:xfrm>
          </p:grpSpPr>
          <p:sp>
            <p:nvSpPr>
              <p:cNvPr id="28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9999"/>
              </a:solidFill>
              <a:ln w="25400" cap="flat" cmpd="sng" algn="ctr">
                <a:solidFill>
                  <a:srgbClr val="00B050"/>
                </a:solidFill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29" name="milestoneshape"/>
              <p:cNvCxnSpPr/>
              <p:nvPr>
                <p:custDataLst>
                  <p:tags r:id="rId29"/>
                </p:custDataLst>
              </p:nvPr>
            </p:nvCxnSpPr>
            <p:spPr>
              <a:xfrm flipV="1">
                <a:off x="3658987" y="2095519"/>
                <a:ext cx="0" cy="825500"/>
              </a:xfrm>
              <a:prstGeom prst="line">
                <a:avLst/>
              </a:prstGeom>
              <a:ln w="15875">
                <a:solidFill>
                  <a:srgbClr val="00B050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milestoneshape"/>
              <p:cNvSpPr txBox="1"/>
              <p:nvPr>
                <p:custDataLst>
                  <p:tags r:id="rId30"/>
                </p:custDataLst>
              </p:nvPr>
            </p:nvSpPr>
            <p:spPr>
              <a:xfrm>
                <a:off x="3887587" y="2857519"/>
                <a:ext cx="1103086" cy="614014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26 Million Customer</a:t>
                </a:r>
              </a:p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Accounts</a:t>
                </a:r>
                <a:endParaRPr lang="en-US" sz="1400" dirty="0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2514600" y="4347029"/>
              <a:ext cx="1255831" cy="1376014"/>
              <a:chOff x="3658987" y="2095519"/>
              <a:chExt cx="1331686" cy="1376014"/>
            </a:xfrm>
          </p:grpSpPr>
          <p:sp>
            <p:nvSpPr>
              <p:cNvPr id="32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9999"/>
              </a:solidFill>
              <a:ln w="25400" cap="flat" cmpd="sng" algn="ctr">
                <a:solidFill>
                  <a:srgbClr val="00B050"/>
                </a:solidFill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33" name="milestoneshape"/>
              <p:cNvCxnSpPr/>
              <p:nvPr>
                <p:custDataLst>
                  <p:tags r:id="rId27"/>
                </p:custDataLst>
              </p:nvPr>
            </p:nvCxnSpPr>
            <p:spPr>
              <a:xfrm flipV="1">
                <a:off x="3658987" y="2095519"/>
                <a:ext cx="0" cy="825500"/>
              </a:xfrm>
              <a:prstGeom prst="line">
                <a:avLst/>
              </a:prstGeom>
              <a:ln w="15875">
                <a:solidFill>
                  <a:srgbClr val="00B050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milestoneshape"/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3887587" y="2857519"/>
                <a:ext cx="1103086" cy="614014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12 Million Customer Accounts</a:t>
                </a:r>
                <a:endParaRPr lang="en-US" sz="1400" dirty="0"/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1955800" y="2138015"/>
              <a:ext cx="1625600" cy="1748186"/>
              <a:chOff x="3658987" y="2857519"/>
              <a:chExt cx="1916817" cy="1628239"/>
            </a:xfrm>
          </p:grpSpPr>
          <p:sp>
            <p:nvSpPr>
              <p:cNvPr id="36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37" name="milestoneshape"/>
              <p:cNvCxnSpPr/>
              <p:nvPr>
                <p:custDataLst>
                  <p:tags r:id="rId24"/>
                </p:custDataLst>
              </p:nvPr>
            </p:nvCxnSpPr>
            <p:spPr>
              <a:xfrm>
                <a:off x="3658987" y="2921019"/>
                <a:ext cx="0" cy="1564739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milestoneshape"/>
              <p:cNvSpPr txBox="1"/>
              <p:nvPr>
                <p:custDataLst>
                  <p:tags r:id="rId25"/>
                </p:custDataLst>
              </p:nvPr>
            </p:nvSpPr>
            <p:spPr>
              <a:xfrm>
                <a:off x="3811387" y="2857519"/>
                <a:ext cx="1764417" cy="411356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NAESB ESPI Standard Ratified</a:t>
                </a:r>
                <a:endParaRPr lang="en-US" sz="1400" dirty="0"/>
              </a:p>
            </p:txBody>
          </p:sp>
          <p:sp>
            <p:nvSpPr>
              <p:cNvPr id="39" name="milestoneshape"/>
              <p:cNvSpPr txBox="1"/>
              <p:nvPr>
                <p:custDataLst>
                  <p:tags r:id="rId26"/>
                </p:custDataLst>
              </p:nvPr>
            </p:nvSpPr>
            <p:spPr>
              <a:xfrm>
                <a:off x="3811387" y="3208266"/>
                <a:ext cx="1397001" cy="228600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10/2011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4191000" y="2362201"/>
              <a:ext cx="955640" cy="1524000"/>
              <a:chOff x="3160157" y="2857519"/>
              <a:chExt cx="1676395" cy="1450687"/>
            </a:xfrm>
          </p:grpSpPr>
          <p:sp>
            <p:nvSpPr>
              <p:cNvPr id="41" name="milestoneshape"/>
              <p:cNvSpPr/>
              <p:nvPr/>
            </p:nvSpPr>
            <p:spPr>
              <a:xfrm rot="16200000">
                <a:off x="3185622" y="2921020"/>
                <a:ext cx="190500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42" name="milestoneshape"/>
              <p:cNvCxnSpPr/>
              <p:nvPr>
                <p:custDataLst>
                  <p:tags r:id="rId21"/>
                </p:custDataLst>
              </p:nvPr>
            </p:nvCxnSpPr>
            <p:spPr>
              <a:xfrm>
                <a:off x="3160157" y="2921019"/>
                <a:ext cx="0" cy="1387187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3" name="milestoneshape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3312552" y="2857519"/>
                <a:ext cx="1524000" cy="745794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HEY </a:t>
                </a:r>
                <a:r>
                  <a:rPr lang="en-US" sz="1200" dirty="0" smtClean="0"/>
                  <a:t>(EPA) </a:t>
                </a:r>
                <a:r>
                  <a:rPr lang="en-US" sz="1400" dirty="0" smtClean="0"/>
                  <a:t>Update w/Green Button</a:t>
                </a:r>
                <a:endParaRPr lang="en-US" sz="1400" dirty="0"/>
              </a:p>
            </p:txBody>
          </p:sp>
          <p:sp>
            <p:nvSpPr>
              <p:cNvPr id="44" name="milestoneshape"/>
              <p:cNvSpPr txBox="1"/>
              <p:nvPr>
                <p:custDataLst>
                  <p:tags r:id="rId23"/>
                </p:custDataLst>
              </p:nvPr>
            </p:nvSpPr>
            <p:spPr>
              <a:xfrm>
                <a:off x="3312552" y="3664694"/>
                <a:ext cx="1397000" cy="228600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4/2013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5" name="Group 44"/>
            <p:cNvGrpSpPr/>
            <p:nvPr/>
          </p:nvGrpSpPr>
          <p:grpSpPr>
            <a:xfrm>
              <a:off x="5181600" y="2397660"/>
              <a:ext cx="1421709" cy="1564740"/>
              <a:chOff x="3658987" y="2857519"/>
              <a:chExt cx="1676400" cy="1752600"/>
            </a:xfrm>
          </p:grpSpPr>
          <p:sp>
            <p:nvSpPr>
              <p:cNvPr id="46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47" name="milestoneshape"/>
              <p:cNvCxnSpPr/>
              <p:nvPr>
                <p:custDataLst>
                  <p:tags r:id="rId18"/>
                </p:custDataLst>
              </p:nvPr>
            </p:nvCxnSpPr>
            <p:spPr>
              <a:xfrm>
                <a:off x="3658987" y="2921019"/>
                <a:ext cx="12700" cy="1689100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milestoneshape"/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3811387" y="2857519"/>
                <a:ext cx="1524000" cy="880779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Presidential Memorandum to Federal Agencies</a:t>
                </a:r>
                <a:endParaRPr lang="en-US" sz="1400" dirty="0"/>
              </a:p>
            </p:txBody>
          </p:sp>
          <p:sp>
            <p:nvSpPr>
              <p:cNvPr id="49" name="milestoneshape"/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3811387" y="3727579"/>
                <a:ext cx="1397001" cy="285101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12/2013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0" name="Group 49"/>
            <p:cNvGrpSpPr/>
            <p:nvPr/>
          </p:nvGrpSpPr>
          <p:grpSpPr>
            <a:xfrm>
              <a:off x="6096000" y="2971798"/>
              <a:ext cx="1371600" cy="984739"/>
              <a:chOff x="3658987" y="2658821"/>
              <a:chExt cx="1617314" cy="1192185"/>
            </a:xfrm>
          </p:grpSpPr>
          <p:sp>
            <p:nvSpPr>
              <p:cNvPr id="51" name="milestoneshape"/>
              <p:cNvSpPr/>
              <p:nvPr/>
            </p:nvSpPr>
            <p:spPr>
              <a:xfrm rot="16200000">
                <a:off x="3658987" y="2758170"/>
                <a:ext cx="190500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52" name="milestoneshape"/>
              <p:cNvCxnSpPr/>
              <p:nvPr>
                <p:custDataLst>
                  <p:tags r:id="rId15"/>
                </p:custDataLst>
              </p:nvPr>
            </p:nvCxnSpPr>
            <p:spPr>
              <a:xfrm>
                <a:off x="3658987" y="2921019"/>
                <a:ext cx="0" cy="929987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3" name="milestoneshape"/>
              <p:cNvSpPr txBox="1"/>
              <p:nvPr>
                <p:custDataLst>
                  <p:tags r:id="rId16"/>
                </p:custDataLst>
              </p:nvPr>
            </p:nvSpPr>
            <p:spPr>
              <a:xfrm>
                <a:off x="3752301" y="2658821"/>
                <a:ext cx="1524000" cy="575830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DMD Certifications</a:t>
                </a:r>
                <a:endParaRPr lang="en-US" sz="1400" dirty="0"/>
              </a:p>
            </p:txBody>
          </p:sp>
          <p:sp>
            <p:nvSpPr>
              <p:cNvPr id="54" name="milestoneshape"/>
              <p:cNvSpPr txBox="1"/>
              <p:nvPr>
                <p:custDataLst>
                  <p:tags r:id="rId17"/>
                </p:custDataLst>
              </p:nvPr>
            </p:nvSpPr>
            <p:spPr>
              <a:xfrm>
                <a:off x="3748838" y="3131082"/>
                <a:ext cx="1397000" cy="358013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2H/2014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55" name="Group 54"/>
            <p:cNvGrpSpPr/>
            <p:nvPr/>
          </p:nvGrpSpPr>
          <p:grpSpPr>
            <a:xfrm>
              <a:off x="3048001" y="3232342"/>
              <a:ext cx="1368662" cy="653854"/>
              <a:chOff x="3552024" y="2857519"/>
              <a:chExt cx="1613850" cy="762000"/>
            </a:xfrm>
          </p:grpSpPr>
          <p:sp>
            <p:nvSpPr>
              <p:cNvPr id="56" name="milestoneshape"/>
              <p:cNvSpPr/>
              <p:nvPr/>
            </p:nvSpPr>
            <p:spPr>
              <a:xfrm rot="16200000">
                <a:off x="3552024" y="2921019"/>
                <a:ext cx="190501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57" name="milestoneshape"/>
              <p:cNvCxnSpPr/>
              <p:nvPr>
                <p:custDataLst>
                  <p:tags r:id="rId12"/>
                </p:custDataLst>
              </p:nvPr>
            </p:nvCxnSpPr>
            <p:spPr>
              <a:xfrm>
                <a:off x="3552024" y="2921019"/>
                <a:ext cx="0" cy="698500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milestoneshape"/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3641874" y="2857519"/>
                <a:ext cx="1524000" cy="441659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DOE Apps </a:t>
                </a:r>
                <a:br>
                  <a:rPr lang="en-US" sz="1400" dirty="0" smtClean="0"/>
                </a:br>
                <a:r>
                  <a:rPr lang="en-US" sz="1400" dirty="0" smtClean="0"/>
                  <a:t>for Energy</a:t>
                </a:r>
                <a:endParaRPr lang="en-US" sz="1400" dirty="0"/>
              </a:p>
            </p:txBody>
          </p:sp>
          <p:sp>
            <p:nvSpPr>
              <p:cNvPr id="59" name="milestoneshape"/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3641874" y="3264310"/>
                <a:ext cx="1397002" cy="228600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5/2012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>
              <a:off x="5029200" y="1524000"/>
              <a:ext cx="1421709" cy="2362200"/>
              <a:chOff x="3658987" y="2857519"/>
              <a:chExt cx="1676400" cy="2362200"/>
            </a:xfrm>
          </p:grpSpPr>
          <p:sp>
            <p:nvSpPr>
              <p:cNvPr id="61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62" name="milestoneshape"/>
              <p:cNvCxnSpPr/>
              <p:nvPr>
                <p:custDataLst>
                  <p:tags r:id="rId9"/>
                </p:custDataLst>
              </p:nvPr>
            </p:nvCxnSpPr>
            <p:spPr>
              <a:xfrm>
                <a:off x="3658987" y="2921019"/>
                <a:ext cx="0" cy="2298700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3" name="milestoneshape"/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3811387" y="2857519"/>
                <a:ext cx="1524000" cy="614014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American Energy</a:t>
                </a:r>
                <a:br>
                  <a:rPr lang="en-US" sz="1400" dirty="0" smtClean="0"/>
                </a:br>
                <a:r>
                  <a:rPr lang="en-US" sz="1400" dirty="0" smtClean="0"/>
                  <a:t>Data Challenge</a:t>
                </a:r>
                <a:endParaRPr lang="en-US" sz="1400" dirty="0"/>
              </a:p>
            </p:txBody>
          </p:sp>
          <p:sp>
            <p:nvSpPr>
              <p:cNvPr id="64" name="milestoneshape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3811387" y="3467119"/>
                <a:ext cx="1397001" cy="228600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11/2013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6705600" y="1515396"/>
              <a:ext cx="1524000" cy="2447003"/>
              <a:chOff x="5181600" y="1676400"/>
              <a:chExt cx="1524000" cy="2362200"/>
            </a:xfrm>
          </p:grpSpPr>
          <p:sp>
            <p:nvSpPr>
              <p:cNvPr id="66" name="milestoneshape"/>
              <p:cNvSpPr/>
              <p:nvPr/>
            </p:nvSpPr>
            <p:spPr>
              <a:xfrm rot="16200000">
                <a:off x="5167129" y="1754371"/>
                <a:ext cx="190500" cy="161558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67" name="milestoneshape"/>
              <p:cNvCxnSpPr/>
              <p:nvPr>
                <p:custDataLst>
                  <p:tags r:id="rId6"/>
                </p:custDataLst>
              </p:nvPr>
            </p:nvCxnSpPr>
            <p:spPr>
              <a:xfrm>
                <a:off x="5181600" y="1739900"/>
                <a:ext cx="0" cy="2298700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milestoneshape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5310846" y="1676400"/>
                <a:ext cx="1394754" cy="614014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Green Button</a:t>
                </a:r>
              </a:p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CMD Certifications</a:t>
                </a:r>
                <a:endParaRPr lang="en-US" sz="1400" dirty="0"/>
              </a:p>
            </p:txBody>
          </p:sp>
          <p:sp>
            <p:nvSpPr>
              <p:cNvPr id="69" name="milestoneshape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5310846" y="2286000"/>
                <a:ext cx="1184758" cy="228600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4Q 2014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70" name="Group 69"/>
            <p:cNvGrpSpPr/>
            <p:nvPr/>
          </p:nvGrpSpPr>
          <p:grpSpPr>
            <a:xfrm>
              <a:off x="7315200" y="2937932"/>
              <a:ext cx="1371600" cy="1100667"/>
              <a:chOff x="6248400" y="3124199"/>
              <a:chExt cx="1371600" cy="914401"/>
            </a:xfrm>
          </p:grpSpPr>
          <p:sp>
            <p:nvSpPr>
              <p:cNvPr id="71" name="milestoneshape"/>
              <p:cNvSpPr/>
              <p:nvPr/>
            </p:nvSpPr>
            <p:spPr>
              <a:xfrm rot="16200000">
                <a:off x="6256123" y="3192677"/>
                <a:ext cx="146113" cy="161558"/>
              </a:xfrm>
              <a:prstGeom prst="flowChartMerge">
                <a:avLst/>
              </a:prstGeom>
              <a:solidFill>
                <a:srgbClr val="0072BC"/>
              </a:solidFill>
              <a:ln w="25400" cap="flat" cmpd="sng" algn="ctr">
                <a:noFill/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72" name="milestoneshape"/>
              <p:cNvCxnSpPr/>
              <p:nvPr>
                <p:custDataLst>
                  <p:tags r:id="rId3"/>
                </p:custDataLst>
              </p:nvPr>
            </p:nvCxnSpPr>
            <p:spPr>
              <a:xfrm>
                <a:off x="6248400" y="3325304"/>
                <a:ext cx="0" cy="713296"/>
              </a:xfrm>
              <a:prstGeom prst="line">
                <a:avLst/>
              </a:prstGeom>
              <a:ln w="15875">
                <a:solidFill>
                  <a:schemeClr val="accent1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3" name="milestoneshape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6327537" y="3124199"/>
                <a:ext cx="1292463" cy="469541"/>
              </a:xfrm>
              <a:prstGeom prst="rect">
                <a:avLst/>
              </a:prstGeom>
              <a:noFill/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Green Button CMD Rollouts</a:t>
                </a:r>
              </a:p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Nationally</a:t>
                </a:r>
              </a:p>
            </p:txBody>
          </p:sp>
          <p:sp>
            <p:nvSpPr>
              <p:cNvPr id="74" name="milestoneshape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6324600" y="3637397"/>
                <a:ext cx="1184758" cy="274594"/>
              </a:xfrm>
              <a:prstGeom prst="rect">
                <a:avLst/>
              </a:prstGeom>
              <a:noFill/>
            </p:spPr>
            <p:txBody>
              <a:bodyPr vert="horz" wrap="none" lIns="88900" tIns="1270" rIns="88900" bIns="44450" rtlCol="0" anchorCtr="0">
                <a:noAutofit/>
              </a:bodyPr>
              <a:lstStyle/>
              <a:p>
                <a:r>
                  <a:rPr lang="en-US" sz="1200" dirty="0" smtClean="0">
                    <a:solidFill>
                      <a:schemeClr val="tx2"/>
                    </a:solidFill>
                  </a:rPr>
                  <a:t>1H/2015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</p:grpSp>
        <p:graphicFrame>
          <p:nvGraphicFramePr>
            <p:cNvPr id="75" name="Content Placeholder 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99933300"/>
                </p:ext>
              </p:extLst>
            </p:nvPr>
          </p:nvGraphicFramePr>
          <p:xfrm>
            <a:off x="685800" y="3886200"/>
            <a:ext cx="8001000" cy="45719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5" r:lo="rId46" r:qs="rId47" r:cs="rId48"/>
            </a:graphicData>
          </a:graphic>
        </p:graphicFrame>
        <p:grpSp>
          <p:nvGrpSpPr>
            <p:cNvPr id="76" name="Group 75"/>
            <p:cNvGrpSpPr/>
            <p:nvPr/>
          </p:nvGrpSpPr>
          <p:grpSpPr>
            <a:xfrm>
              <a:off x="6891305" y="4343400"/>
              <a:ext cx="1281836" cy="1376014"/>
              <a:chOff x="3658987" y="2095519"/>
              <a:chExt cx="1353457" cy="1376014"/>
            </a:xfrm>
          </p:grpSpPr>
          <p:sp>
            <p:nvSpPr>
              <p:cNvPr id="77" name="milestoneshape"/>
              <p:cNvSpPr/>
              <p:nvPr/>
            </p:nvSpPr>
            <p:spPr>
              <a:xfrm rot="16200000">
                <a:off x="3658987" y="2921019"/>
                <a:ext cx="190500" cy="190500"/>
              </a:xfrm>
              <a:prstGeom prst="flowChartMerge">
                <a:avLst/>
              </a:prstGeom>
              <a:solidFill>
                <a:srgbClr val="009999"/>
              </a:solidFill>
              <a:ln w="25400" cap="flat" cmpd="sng" algn="ctr">
                <a:solidFill>
                  <a:srgbClr val="00B050"/>
                </a:solidFill>
                <a:prstDash val="solid"/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  <a:scene3d>
                <a:camera prst="orthographicFront"/>
                <a:lightRig rig="threePt" dir="t"/>
              </a:scene3d>
              <a:sp3d>
                <a:bevelT h="12700"/>
              </a:sp3d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  <p:cxnSp>
            <p:nvCxnSpPr>
              <p:cNvPr id="78" name="milestoneshape"/>
              <p:cNvCxnSpPr/>
              <p:nvPr>
                <p:custDataLst>
                  <p:tags r:id="rId1"/>
                </p:custDataLst>
              </p:nvPr>
            </p:nvCxnSpPr>
            <p:spPr>
              <a:xfrm flipV="1">
                <a:off x="3658987" y="2095519"/>
                <a:ext cx="0" cy="825500"/>
              </a:xfrm>
              <a:prstGeom prst="line">
                <a:avLst/>
              </a:prstGeom>
              <a:ln w="15875">
                <a:solidFill>
                  <a:srgbClr val="00B050"/>
                </a:solidFill>
              </a:ln>
              <a:effectLst>
                <a:outerShdw blurRad="63500">
                  <a:scrgbClr r="0" g="0" b="0">
                    <a:alpha val="50000"/>
                  </a:scrgb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9" name="milestoneshape"/>
              <p:cNvSpPr txBox="1"/>
              <p:nvPr>
                <p:custDataLst>
                  <p:tags r:id="rId2"/>
                </p:custDataLst>
              </p:nvPr>
            </p:nvSpPr>
            <p:spPr>
              <a:xfrm>
                <a:off x="3909358" y="2857519"/>
                <a:ext cx="1103086" cy="614014"/>
              </a:xfrm>
              <a:prstGeom prst="rect">
                <a:avLst/>
              </a:prstGeom>
              <a:noFill/>
              <a:ln>
                <a:solidFill>
                  <a:srgbClr val="00B050"/>
                </a:solidFill>
              </a:ln>
            </p:spPr>
            <p:txBody>
              <a:bodyPr vert="horz" wrap="square" lIns="88900" tIns="44450" rIns="88900" bIns="44450" rtlCol="0" anchorCtr="0">
                <a:spAutoFit/>
              </a:bodyPr>
              <a:lstStyle/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60 Million Customer</a:t>
                </a:r>
              </a:p>
              <a:p>
                <a:pPr>
                  <a:lnSpc>
                    <a:spcPct val="80000"/>
                  </a:lnSpc>
                </a:pPr>
                <a:r>
                  <a:rPr lang="en-US" sz="1400" dirty="0" smtClean="0"/>
                  <a:t>Accounts</a:t>
                </a:r>
                <a:endParaRPr lang="en-US" sz="14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4934672"/>
      </p:ext>
    </p:extLst>
  </p:cSld>
  <p:clrMapOvr>
    <a:masterClrMapping/>
  </p:clrMapOvr>
  <p:transition spd="med">
    <p:fade thruBlk="1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ypical Data Exchang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638300" y="1451982"/>
            <a:ext cx="6705600" cy="5017072"/>
            <a:chOff x="1324434" y="1231328"/>
            <a:chExt cx="6705600" cy="5017072"/>
          </a:xfrm>
        </p:grpSpPr>
        <p:sp>
          <p:nvSpPr>
            <p:cNvPr id="5" name="Rectangle 4"/>
            <p:cNvSpPr/>
            <p:nvPr/>
          </p:nvSpPr>
          <p:spPr>
            <a:xfrm>
              <a:off x="1324434" y="1828800"/>
              <a:ext cx="2133600" cy="25200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/>
                <a:t>Data Custodian</a:t>
              </a:r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5896434" y="1828800"/>
              <a:ext cx="2133600" cy="25200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dirty="0" smtClean="0"/>
                <a:t>Third Party</a:t>
              </a:r>
              <a:endParaRPr lang="en-US" dirty="0"/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1819734" y="2443836"/>
              <a:ext cx="1143000" cy="831401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dirty="0" smtClean="0"/>
                <a:t>Web Service Provider</a:t>
              </a:r>
              <a:endParaRPr lang="en-US" sz="1600" dirty="0"/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6391734" y="2443836"/>
              <a:ext cx="1143000" cy="831401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600" dirty="0" smtClean="0"/>
                <a:t>Web Service Consumer</a:t>
              </a:r>
              <a:endParaRPr lang="en-US" sz="1600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610434" y="4806036"/>
              <a:ext cx="2104566" cy="144236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 smtClean="0"/>
                <a:t>Retail Customer</a:t>
              </a:r>
              <a:endParaRPr lang="en-US" sz="2000" dirty="0"/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1819734" y="3434436"/>
              <a:ext cx="1143000" cy="685800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 smtClean="0"/>
                <a:t>Web Portal</a:t>
              </a:r>
              <a:endParaRPr lang="en-US" sz="2000" dirty="0"/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6391734" y="3460813"/>
              <a:ext cx="1143000" cy="685800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 smtClean="0"/>
                <a:t>Web Portal</a:t>
              </a:r>
              <a:endParaRPr lang="en-US" sz="2000" dirty="0"/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4105734" y="5034636"/>
              <a:ext cx="1143000" cy="685800"/>
            </a:xfrm>
            <a:prstGeom prst="roundRect">
              <a:avLst/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dirty="0" smtClean="0"/>
                <a:t>User (agent)</a:t>
              </a:r>
              <a:endParaRPr lang="en-US" sz="2000" dirty="0"/>
            </a:p>
          </p:txBody>
        </p:sp>
        <p:cxnSp>
          <p:nvCxnSpPr>
            <p:cNvPr id="13" name="Elbow Connector 12"/>
            <p:cNvCxnSpPr>
              <a:stCxn id="10" idx="2"/>
              <a:endCxn id="12" idx="1"/>
            </p:cNvCxnSpPr>
            <p:nvPr/>
          </p:nvCxnSpPr>
          <p:spPr>
            <a:xfrm rot="16200000" flipH="1">
              <a:off x="2619834" y="3891636"/>
              <a:ext cx="1257300" cy="1714500"/>
            </a:xfrm>
            <a:prstGeom prst="bentConnector2">
              <a:avLst/>
            </a:prstGeom>
            <a:ln>
              <a:solidFill>
                <a:srgbClr val="FF0000"/>
              </a:solidFill>
              <a:headEnd type="arrow" w="med" len="med"/>
              <a:tailEnd type="arrow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2962734" y="2971800"/>
              <a:ext cx="3429000" cy="0"/>
            </a:xfrm>
            <a:prstGeom prst="straightConnector1">
              <a:avLst/>
            </a:prstGeom>
            <a:ln>
              <a:solidFill>
                <a:schemeClr val="tx1"/>
              </a:solidFill>
              <a:headEnd type="triangle" w="med" len="med"/>
              <a:tailEnd type="triangl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Arrow Connector 14"/>
            <p:cNvCxnSpPr/>
            <p:nvPr/>
          </p:nvCxnSpPr>
          <p:spPr>
            <a:xfrm>
              <a:off x="2962734" y="3200400"/>
              <a:ext cx="3429000" cy="0"/>
            </a:xfrm>
            <a:prstGeom prst="straightConnector1">
              <a:avLst/>
            </a:prstGeom>
            <a:ln>
              <a:solidFill>
                <a:srgbClr val="E9EDF4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>
              <a:stCxn id="10" idx="3"/>
              <a:endCxn id="12" idx="0"/>
            </p:cNvCxnSpPr>
            <p:nvPr/>
          </p:nvCxnSpPr>
          <p:spPr>
            <a:xfrm>
              <a:off x="2962734" y="3777336"/>
              <a:ext cx="1714500" cy="1257300"/>
            </a:xfrm>
            <a:prstGeom prst="straightConnector1">
              <a:avLst/>
            </a:prstGeom>
            <a:ln>
              <a:solidFill>
                <a:srgbClr val="E9EDF4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>
              <a:stCxn id="11" idx="1"/>
              <a:endCxn id="12" idx="0"/>
            </p:cNvCxnSpPr>
            <p:nvPr/>
          </p:nvCxnSpPr>
          <p:spPr>
            <a:xfrm flipH="1">
              <a:off x="4677234" y="3803713"/>
              <a:ext cx="1714500" cy="1230923"/>
            </a:xfrm>
            <a:prstGeom prst="straightConnector1">
              <a:avLst/>
            </a:prstGeom>
            <a:ln>
              <a:solidFill>
                <a:srgbClr val="E9EDF4"/>
              </a:solidFill>
              <a:prstDash val="dash"/>
              <a:headEnd type="triangle" w="med" len="med"/>
              <a:tailEnd type="triangl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27"/>
            <p:cNvSpPr txBox="1"/>
            <p:nvPr/>
          </p:nvSpPr>
          <p:spPr>
            <a:xfrm>
              <a:off x="3937310" y="3490555"/>
              <a:ext cx="159717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1800" dirty="0" smtClean="0"/>
                <a:t>One-time Authorization</a:t>
              </a:r>
              <a:endParaRPr lang="en-US" sz="1800" dirty="0"/>
            </a:p>
          </p:txBody>
        </p:sp>
        <p:sp>
          <p:nvSpPr>
            <p:cNvPr id="19" name="TextBox 28"/>
            <p:cNvSpPr txBox="1"/>
            <p:nvPr/>
          </p:nvSpPr>
          <p:spPr>
            <a:xfrm>
              <a:off x="3571771" y="2602468"/>
              <a:ext cx="22109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en-US" sz="1800" dirty="0" smtClean="0"/>
                <a:t>Automated Transfer</a:t>
              </a:r>
              <a:endParaRPr lang="en-US" sz="1800" dirty="0"/>
            </a:p>
          </p:txBody>
        </p:sp>
        <p:cxnSp>
          <p:nvCxnSpPr>
            <p:cNvPr id="20" name="Straight Connector 19"/>
            <p:cNvCxnSpPr/>
            <p:nvPr/>
          </p:nvCxnSpPr>
          <p:spPr>
            <a:xfrm flipH="1">
              <a:off x="3686634" y="4120236"/>
              <a:ext cx="250676" cy="152400"/>
            </a:xfrm>
            <a:prstGeom prst="line">
              <a:avLst/>
            </a:prstGeom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5439234" y="4120236"/>
              <a:ext cx="228600" cy="152400"/>
            </a:xfrm>
            <a:prstGeom prst="line">
              <a:avLst/>
            </a:prstGeom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V="1">
              <a:off x="4735897" y="3167736"/>
              <a:ext cx="0" cy="419101"/>
            </a:xfrm>
            <a:prstGeom prst="line">
              <a:avLst/>
            </a:prstGeom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2971800" y="2585364"/>
              <a:ext cx="3429000" cy="0"/>
            </a:xfrm>
            <a:prstGeom prst="straightConnector1">
              <a:avLst/>
            </a:prstGeom>
            <a:ln>
              <a:solidFill>
                <a:srgbClr val="66FF99"/>
              </a:solidFill>
              <a:headEnd type="triangle" w="med" len="med"/>
              <a:tailEnd type="triangle" w="med" len="med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8"/>
            <p:cNvSpPr txBox="1"/>
            <p:nvPr/>
          </p:nvSpPr>
          <p:spPr>
            <a:xfrm>
              <a:off x="3429000" y="2216032"/>
              <a:ext cx="260840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r>
                <a:rPr lang="en-US" sz="1800" dirty="0" smtClean="0"/>
                <a:t>Third Party Registration</a:t>
              </a:r>
              <a:endParaRPr lang="en-US" sz="1800" dirty="0"/>
            </a:p>
          </p:txBody>
        </p:sp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7453" y="5301581"/>
              <a:ext cx="2021547" cy="9468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2120" y="1231328"/>
              <a:ext cx="1920480" cy="9784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02773276"/>
      </p:ext>
    </p:extLst>
  </p:cSld>
  <p:clrMapOvr>
    <a:masterClrMapping/>
  </p:clrMapOvr>
  <p:transition spd="med">
    <p:fade thruBlk="1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140923" y="5726668"/>
            <a:ext cx="1088677" cy="369332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          </a:t>
            </a:r>
          </a:p>
        </p:txBody>
      </p:sp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1447800" y="0"/>
            <a:ext cx="7696200" cy="793750"/>
          </a:xfrm>
        </p:spPr>
        <p:txBody>
          <a:bodyPr>
            <a:noAutofit/>
          </a:bodyPr>
          <a:lstStyle/>
          <a:p>
            <a:pPr algn="l"/>
            <a:r>
              <a:rPr lang="en-US" sz="2400" dirty="0" smtClean="0"/>
              <a:t>Green Button Supports Innovation </a:t>
            </a:r>
            <a:br>
              <a:rPr lang="en-US" sz="2400" dirty="0" smtClean="0"/>
            </a:br>
            <a:r>
              <a:rPr lang="en-US" sz="2400" dirty="0" smtClean="0"/>
              <a:t>in New Applications</a:t>
            </a:r>
          </a:p>
        </p:txBody>
      </p:sp>
      <p:sp>
        <p:nvSpPr>
          <p:cNvPr id="9219" name="Rectangle 1"/>
          <p:cNvSpPr>
            <a:spLocks noChangeArrowheads="1"/>
          </p:cNvSpPr>
          <p:nvPr/>
        </p:nvSpPr>
        <p:spPr bwMode="auto">
          <a:xfrm>
            <a:off x="1285737" y="893450"/>
            <a:ext cx="4114705" cy="581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b="1" dirty="0"/>
              <a:t>Insight: </a:t>
            </a:r>
            <a:r>
              <a:rPr lang="en-US" dirty="0"/>
              <a:t>entrepreneur-created web portals analyze energy usage and provide actionable tips;</a:t>
            </a:r>
          </a:p>
          <a:p>
            <a:pPr>
              <a:spcBef>
                <a:spcPts val="600"/>
              </a:spcBef>
            </a:pPr>
            <a:r>
              <a:rPr lang="en-US" b="1" dirty="0"/>
              <a:t>Heating and Cooling:</a:t>
            </a:r>
            <a:r>
              <a:rPr lang="en-US" dirty="0"/>
              <a:t> customized heating and cooling activities for savings and comfort;</a:t>
            </a:r>
          </a:p>
          <a:p>
            <a:pPr>
              <a:spcBef>
                <a:spcPts val="600"/>
              </a:spcBef>
            </a:pPr>
            <a:r>
              <a:rPr lang="en-US" b="1" dirty="0"/>
              <a:t>Education:</a:t>
            </a:r>
            <a:r>
              <a:rPr lang="en-US" dirty="0"/>
              <a:t> community and student energy efficiency competitions;</a:t>
            </a:r>
          </a:p>
          <a:p>
            <a:pPr>
              <a:spcBef>
                <a:spcPts val="600"/>
              </a:spcBef>
            </a:pPr>
            <a:r>
              <a:rPr lang="en-US" b="1" dirty="0"/>
              <a:t>Retrofits:</a:t>
            </a:r>
            <a:r>
              <a:rPr lang="en-US" dirty="0"/>
              <a:t> improved decision-support tools to facilitate energy efficiency </a:t>
            </a:r>
            <a:r>
              <a:rPr lang="en-US" dirty="0" smtClean="0"/>
              <a:t>retrofits,</a:t>
            </a:r>
            <a:br>
              <a:rPr lang="en-US" dirty="0" smtClean="0"/>
            </a:br>
            <a:r>
              <a:rPr lang="en-US" dirty="0" smtClean="0"/>
              <a:t>Virtual Energy Audits;</a:t>
            </a:r>
            <a:endParaRPr lang="en-US" dirty="0"/>
          </a:p>
          <a:p>
            <a:pPr>
              <a:spcBef>
                <a:spcPts val="600"/>
              </a:spcBef>
            </a:pPr>
            <a:r>
              <a:rPr lang="en-US" b="1" dirty="0"/>
              <a:t>Verification:</a:t>
            </a:r>
            <a:r>
              <a:rPr lang="en-US" dirty="0"/>
              <a:t> measurement of energy efficiency investments;</a:t>
            </a:r>
          </a:p>
          <a:p>
            <a:pPr>
              <a:spcBef>
                <a:spcPts val="600"/>
              </a:spcBef>
            </a:pPr>
            <a:r>
              <a:rPr lang="en-US" b="1" dirty="0"/>
              <a:t>Real Estate:</a:t>
            </a:r>
            <a:r>
              <a:rPr lang="en-US" dirty="0"/>
              <a:t> provide energy costs for tenants and/or new home purchasers; and</a:t>
            </a:r>
          </a:p>
          <a:p>
            <a:pPr>
              <a:spcBef>
                <a:spcPts val="600"/>
              </a:spcBef>
            </a:pPr>
            <a:r>
              <a:rPr lang="en-US" b="1" dirty="0"/>
              <a:t>Solar:</a:t>
            </a:r>
            <a:r>
              <a:rPr lang="en-US" dirty="0"/>
              <a:t> optimize the size and cost-effectiveness of rooftop solar panels.</a:t>
            </a:r>
          </a:p>
        </p:txBody>
      </p:sp>
      <p:pic>
        <p:nvPicPr>
          <p:cNvPr id="27" name="Picture 26" descr="Screen Shot 2014-03-12 at 2.52.15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0" y="2133600"/>
            <a:ext cx="1181100" cy="528231"/>
          </a:xfrm>
          <a:prstGeom prst="rect">
            <a:avLst/>
          </a:prstGeom>
        </p:spPr>
      </p:pic>
      <p:grpSp>
        <p:nvGrpSpPr>
          <p:cNvPr id="28" name="Group 27"/>
          <p:cNvGrpSpPr/>
          <p:nvPr/>
        </p:nvGrpSpPr>
        <p:grpSpPr>
          <a:xfrm>
            <a:off x="5486400" y="1346118"/>
            <a:ext cx="3124200" cy="4821121"/>
            <a:chOff x="5486400" y="1624012"/>
            <a:chExt cx="3124200" cy="4821121"/>
          </a:xfrm>
        </p:grpSpPr>
        <p:grpSp>
          <p:nvGrpSpPr>
            <p:cNvPr id="29" name="Group 28"/>
            <p:cNvGrpSpPr>
              <a:grpSpLocks/>
            </p:cNvGrpSpPr>
            <p:nvPr/>
          </p:nvGrpSpPr>
          <p:grpSpPr bwMode="auto">
            <a:xfrm>
              <a:off x="5486400" y="1624012"/>
              <a:ext cx="3124200" cy="4821121"/>
              <a:chOff x="5291647" y="954088"/>
              <a:chExt cx="3872883" cy="5404013"/>
            </a:xfrm>
          </p:grpSpPr>
          <p:pic>
            <p:nvPicPr>
              <p:cNvPr id="33" name="Picture 36" descr="Logo2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291647" y="4914769"/>
                <a:ext cx="1224532" cy="497976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34" name="Picture 5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98994" y="1359876"/>
                <a:ext cx="1414463" cy="2508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Picture 6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82723" y="954088"/>
                <a:ext cx="779462" cy="32067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Picture 7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03913" y="958132"/>
                <a:ext cx="949326" cy="2730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Picture 11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75319" y="1354461"/>
                <a:ext cx="1027112" cy="4286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Picture 14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42813" y="2664570"/>
                <a:ext cx="946150" cy="3127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" name="Picture 17"/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32024" y="4540476"/>
                <a:ext cx="1831976" cy="3159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" name="Picture 24" descr="FirstFuel">
                <a:hlinkClick r:id="rId11"/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5302699" y="5714371"/>
                <a:ext cx="1607054" cy="260794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reflection blurRad="12700" stA="38000" endPos="28000" dist="5000" dir="5400000" sy="-100000" algn="bl" rotWithShape="0"/>
              </a:effectLst>
            </p:spPr>
          </p:pic>
          <p:pic>
            <p:nvPicPr>
              <p:cNvPr id="41" name="Picture 26" descr="http://img.honestbuildings.com/di_logoprofile_d5fd898f-32f1-c7fd-74a2-d1b79f3d99d4.jpg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25174" y="2516307"/>
                <a:ext cx="671514" cy="6318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2" name="Picture 28" descr="Honeywell logo.svg">
                <a:hlinkClick r:id="rId14"/>
              </p:cNvPr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46775" y="3706827"/>
                <a:ext cx="1409700" cy="2460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Picture 30" descr="http://www.luciddesigngroup.com/images/header/lucid.png">
                <a:hlinkClick r:id="rId16"/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92981" y="3831434"/>
                <a:ext cx="971549" cy="3429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5" name="Picture 34" descr="http://www.oracleimg.com/us/assets/oralogo-small.gif">
                <a:hlinkClick r:id="rId18"/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21301" y="6115215"/>
                <a:ext cx="1790700" cy="242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Picture 38" descr="Schneider Electric.svg">
                <a:hlinkClick r:id="rId20"/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88016" y="990183"/>
                <a:ext cx="985626" cy="296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7" name="Picture 42" descr="Sunrun logo">
                <a:hlinkClick r:id="rId22"/>
              </p:cNvPr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07443" y="4994688"/>
                <a:ext cx="857250" cy="3381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8" name="Picture 44" descr="http://simpleenergy.wpengine.netdna-cdn.com/wp-content/themes/simpleenergy/images/logo.png">
                <a:hlinkClick r:id="rId24"/>
              </p:cNvPr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69779" y="5936597"/>
                <a:ext cx="1285876" cy="25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" name="Picture 26" descr="http://upload.wikimedia.org/wikipedia/en/thumb/1/1f/TXUenergyLogo.jpg/101px-TXUenergyLogo.jpg">
                <a:hlinkClick r:id="rId26"/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13672" y="4130046"/>
                <a:ext cx="1249362" cy="6683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" name="Picture 38" descr="http://www.retroficiency.com/wp-content/uploads/2012/01/retro_logo.png"/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25798" y="2464828"/>
                <a:ext cx="1695440" cy="44849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30" descr="http://www.snugghome.com/img/sh-logo.png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9400" y="3260889"/>
                <a:ext cx="1485900" cy="2857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2" name="Picture 32" descr="http://www.psdconsulting.com/sites/all/themes/psd/logo.png?">
                <a:hlinkClick r:id="rId30"/>
              </p:cNvPr>
              <p:cNvPicPr>
                <a:picLocks noChangeAspect="1" noChangeArrowheads="1"/>
              </p:cNvPicPr>
              <p:nvPr/>
            </p:nvPicPr>
            <p:blipFill>
              <a:blip r:embed="rId3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27557"/>
              <a:stretch>
                <a:fillRect/>
              </a:stretch>
            </p:blipFill>
            <p:spPr bwMode="auto">
              <a:xfrm>
                <a:off x="7737064" y="4941801"/>
                <a:ext cx="1236578" cy="5076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0" name="Picture 29" descr="Screen Shot 2014-03-12 at 2.45.09 PM.png"/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5200" y="2438400"/>
              <a:ext cx="1143000" cy="414760"/>
            </a:xfrm>
            <a:prstGeom prst="rect">
              <a:avLst/>
            </a:prstGeom>
          </p:spPr>
        </p:pic>
        <p:pic>
          <p:nvPicPr>
            <p:cNvPr id="31" name="Picture 30" descr="Screen Shot 2014-03-12 at 2.51.22 PM.png"/>
            <p:cNvPicPr>
              <a:picLocks noChangeAspect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34200" y="4368652"/>
              <a:ext cx="685800" cy="431948"/>
            </a:xfrm>
            <a:prstGeom prst="rect">
              <a:avLst/>
            </a:prstGeom>
          </p:spPr>
        </p:pic>
        <p:pic>
          <p:nvPicPr>
            <p:cNvPr id="32" name="Picture 31" descr="Screen Shot 2014-03-12 at 2.52.54 PM.png"/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86600" y="3429000"/>
              <a:ext cx="1219200" cy="533110"/>
            </a:xfrm>
            <a:prstGeom prst="rect">
              <a:avLst/>
            </a:prstGeom>
          </p:spPr>
        </p:pic>
      </p:grpSp>
      <p:sp>
        <p:nvSpPr>
          <p:cNvPr id="3" name="Rectangle 2"/>
          <p:cNvSpPr/>
          <p:nvPr/>
        </p:nvSpPr>
        <p:spPr>
          <a:xfrm>
            <a:off x="5834027" y="6226538"/>
            <a:ext cx="2435295" cy="3810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www.greenbuttondata.org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5648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ent Success – Com 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mplemented Green Button Connect My Data for C&amp;I</a:t>
            </a:r>
          </a:p>
          <a:p>
            <a:r>
              <a:rPr lang="en-US" dirty="0" smtClean="0"/>
              <a:t>Central to their Smart Grid Exchange – with entrepreneurs, start-up, universities and customers</a:t>
            </a:r>
          </a:p>
          <a:p>
            <a:r>
              <a:rPr lang="en-US" dirty="0" smtClean="0"/>
              <a:t>Elmhurst Hospital was an early user, saving energy through analytics on their campu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374155"/>
      </p:ext>
    </p:extLst>
  </p:cSld>
  <p:clrMapOvr>
    <a:masterClrMapping/>
  </p:clrMapOvr>
  <p:transition spd="med">
    <p:fade thruBlk="1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44734-EED9-4E95-8605-F304C3A682C0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Rectangle 4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24000" y="1828800"/>
            <a:ext cx="6400800" cy="2400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68275" lvl="3" indent="-168275" algn="ctr" defTabSz="912813">
              <a:buClr>
                <a:srgbClr val="990000"/>
              </a:buClr>
              <a:buSzPct val="100000"/>
            </a:pPr>
            <a:endParaRPr lang="en-US" b="1" dirty="0" smtClean="0">
              <a:solidFill>
                <a:schemeClr val="tx1">
                  <a:lumMod val="50000"/>
                </a:schemeClr>
              </a:solidFill>
              <a:latin typeface="+mj-lt"/>
              <a:ea typeface="ＭＳ Ｐゴシック" pitchFamily="34" charset="-128"/>
            </a:endParaRPr>
          </a:p>
          <a:p>
            <a:pPr marL="168275" lvl="3" indent="-168275" algn="ctr" defTabSz="912813">
              <a:buClr>
                <a:srgbClr val="990000"/>
              </a:buClr>
              <a:buSzPct val="100000"/>
            </a:pPr>
            <a:endParaRPr lang="en-US" b="1" dirty="0">
              <a:solidFill>
                <a:schemeClr val="tx1">
                  <a:lumMod val="50000"/>
                </a:schemeClr>
              </a:solidFill>
              <a:latin typeface="+mj-lt"/>
              <a:ea typeface="ＭＳ Ｐゴシック" pitchFamily="34" charset="-128"/>
            </a:endParaRPr>
          </a:p>
          <a:p>
            <a:pPr marL="168275" lvl="3" indent="-168275" algn="ctr" defTabSz="912813">
              <a:buClr>
                <a:srgbClr val="990000"/>
              </a:buClr>
              <a:buSzPct val="100000"/>
            </a:pPr>
            <a:r>
              <a:rPr lang="en-US" sz="2400" b="1" dirty="0" smtClean="0">
                <a:latin typeface="+mj-lt"/>
                <a:ea typeface="ＭＳ Ｐゴシック" pitchFamily="34" charset="-128"/>
              </a:rPr>
              <a:t>Thank You</a:t>
            </a:r>
            <a:endParaRPr lang="en-US" sz="2400" b="1" dirty="0" smtClean="0">
              <a:latin typeface="+mj-lt"/>
              <a:ea typeface="ＭＳ Ｐゴシック" pitchFamily="34" charset="-128"/>
            </a:endParaRPr>
          </a:p>
          <a:p>
            <a:pPr marL="168275" lvl="3" indent="-168275" algn="ctr" defTabSz="912813">
              <a:buClr>
                <a:srgbClr val="990000"/>
              </a:buClr>
              <a:buSzPct val="100000"/>
            </a:pPr>
            <a:r>
              <a:rPr lang="en-US" sz="2400" b="1" dirty="0" smtClean="0">
                <a:latin typeface="+mj-lt"/>
                <a:ea typeface="ＭＳ Ｐゴシック" pitchFamily="34" charset="-128"/>
              </a:rPr>
              <a:t>Christopher Irwin</a:t>
            </a:r>
          </a:p>
          <a:p>
            <a:pPr marL="168275" lvl="3" indent="-168275" algn="ctr" defTabSz="912813">
              <a:buClr>
                <a:srgbClr val="990000"/>
              </a:buClr>
              <a:buSzPct val="100000"/>
            </a:pPr>
            <a:r>
              <a:rPr lang="en-US" sz="2400" b="1" dirty="0" smtClean="0">
                <a:latin typeface="+mj-lt"/>
                <a:ea typeface="ＭＳ Ｐゴシック" pitchFamily="34" charset="-128"/>
              </a:rPr>
              <a:t>Office of Electricity Delivery and Energy Reliability</a:t>
            </a:r>
          </a:p>
          <a:p>
            <a:pPr marL="168275" lvl="3" indent="-168275" algn="ctr" defTabSz="912813">
              <a:buClr>
                <a:srgbClr val="990000"/>
              </a:buClr>
              <a:buSzPct val="100000"/>
            </a:pPr>
            <a:r>
              <a:rPr lang="en-US" sz="2400" b="1" dirty="0" smtClean="0">
                <a:latin typeface="+mj-lt"/>
                <a:ea typeface="ＭＳ Ｐゴシック" pitchFamily="34" charset="-128"/>
              </a:rPr>
              <a:t>Advanced Grid Integration</a:t>
            </a:r>
          </a:p>
          <a:p>
            <a:pPr marL="168275" lvl="3" indent="-168275" algn="ctr" defTabSz="912813">
              <a:buClr>
                <a:srgbClr val="990000"/>
              </a:buClr>
              <a:buSzPct val="100000"/>
            </a:pPr>
            <a:r>
              <a:rPr lang="en-US" sz="2400" b="1" dirty="0" smtClean="0">
                <a:latin typeface="+mj-lt"/>
                <a:ea typeface="ＭＳ Ｐゴシック" pitchFamily="34" charset="-128"/>
              </a:rPr>
              <a:t>Christopher.Irwin@hq.doe.gov</a:t>
            </a:r>
            <a:endParaRPr lang="en-US" sz="2400" dirty="0" smtClean="0">
              <a:latin typeface="+mj-lt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59959549"/>
      </p:ext>
    </p:extLst>
  </p:cSld>
  <p:clrMapOvr>
    <a:masterClrMapping/>
  </p:clrMapOvr>
  <p:transition spd="med">
    <p:fade thruBlk="1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4UsIM10uj3Logcb4R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Name;4;;11;;10;4;-1;-1;False;120;False;False;False;False;False;-1;300.109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LESTONE4" val="0,114,188,-16747844,False;7/27/2005 12:00:00 AM;Milestone 2;False;False;False;False;False;tbDate;4;;11;;10;4;-1;-1;False;120;False;False;False;False;False;-1;300.109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NECTORCOLOR" val="79;129;189"/>
</p:tagLst>
</file>

<file path=ppt/theme/theme1.xml><?xml version="1.0" encoding="utf-8"?>
<a:theme xmlns:a="http://schemas.openxmlformats.org/drawingml/2006/main" name="Andrea Template (will print black and white)">
  <a:themeElements>
    <a:clrScheme name="Custom 9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92D0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ndrea Template (will print black and white)</Template>
  <TotalTime>1089</TotalTime>
  <Words>461</Words>
  <Application>Microsoft Office PowerPoint</Application>
  <PresentationFormat>On-screen Show (4:3)</PresentationFormat>
  <Paragraphs>101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ＭＳ Ｐゴシック</vt:lpstr>
      <vt:lpstr>ＭＳ Ｐゴシック</vt:lpstr>
      <vt:lpstr>Arial</vt:lpstr>
      <vt:lpstr>Calibri</vt:lpstr>
      <vt:lpstr>Cambria</vt:lpstr>
      <vt:lpstr>Andrea Template (will print black and white)</vt:lpstr>
      <vt:lpstr>Customer Data Access -The New Ground Floor</vt:lpstr>
      <vt:lpstr>Quick Background</vt:lpstr>
      <vt:lpstr>The New Ground Floor</vt:lpstr>
      <vt:lpstr>Green Button Initiative Overview</vt:lpstr>
      <vt:lpstr>“An Overnight Success”</vt:lpstr>
      <vt:lpstr>Typical Data Exchange</vt:lpstr>
      <vt:lpstr>Green Button Supports Innovation  in New Applications</vt:lpstr>
      <vt:lpstr>Recent Success – Com Ed</vt:lpstr>
      <vt:lpstr>PowerPoint Presentation</vt:lpstr>
    </vt:vector>
  </TitlesOfParts>
  <Company>CenterPoint Energ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/>
  <cp:lastModifiedBy>Irwin, Christopher</cp:lastModifiedBy>
  <cp:revision>55</cp:revision>
  <dcterms:created xsi:type="dcterms:W3CDTF">2015-06-19T14:56:50Z</dcterms:created>
  <dcterms:modified xsi:type="dcterms:W3CDTF">2015-10-14T19:03:01Z</dcterms:modified>
</cp:coreProperties>
</file>